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6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7.xml" ContentType="application/vnd.openxmlformats-officedocument.theme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8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10.xml" ContentType="application/vnd.openxmlformats-officedocument.theme+xml"/>
  <Override PartName="/ppt/tags/tag1.xml" ContentType="application/vnd.openxmlformats-officedocument.presentationml.tags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1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theme/theme12.xml" ContentType="application/vnd.openxmlformats-officedocument.theme+xml"/>
  <Override PartName="/ppt/tags/tag2.xml" ContentType="application/vnd.openxmlformats-officedocument.presentationml.tags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3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heme/theme14.xml" ContentType="application/vnd.openxmlformats-officedocument.theme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5.xml" ContentType="application/vnd.openxmlformats-officedocument.theme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16.xml" ContentType="application/vnd.openxmlformats-officedocument.theme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theme/theme17.xml" ContentType="application/vnd.openxmlformats-officedocument.theme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18.xml" ContentType="application/vnd.openxmlformats-officedocument.theme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theme/theme19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theme/theme20.xml" ContentType="application/vnd.openxmlformats-officedocument.theme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1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theme/theme22.xml" ContentType="application/vnd.openxmlformats-officedocument.theme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theme/theme23.xml" ContentType="application/vnd.openxmlformats-officedocument.theme+xml"/>
  <Override PartName="/ppt/tags/tag3.xml" ContentType="application/vnd.openxmlformats-officedocument.presentationml.tags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4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theme/theme25.xml" ContentType="application/vnd.openxmlformats-officedocument.theme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theme/theme26.xml" ContentType="application/vnd.openxmlformats-officedocument.theme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theme/theme27.xml" ContentType="application/vnd.openxmlformats-officedocument.theme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28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29.xml" ContentType="application/vnd.openxmlformats-officedocument.theme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theme/theme30.xml" ContentType="application/vnd.openxmlformats-officedocument.theme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theme/theme31.xml" ContentType="application/vnd.openxmlformats-officedocument.theme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theme/theme32.xml" ContentType="application/vnd.openxmlformats-officedocument.theme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33.xml" ContentType="application/vnd.openxmlformats-officedocument.theme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34.xml" ContentType="application/vnd.openxmlformats-officedocument.theme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theme/theme35.xml" ContentType="application/vnd.openxmlformats-officedocument.theme+xml"/>
  <Override PartName="/ppt/tags/tag4.xml" ContentType="application/vnd.openxmlformats-officedocument.presentationml.tags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theme/theme36.xml" ContentType="application/vnd.openxmlformats-officedocument.theme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theme/theme37.xml" ContentType="application/vnd.openxmlformats-officedocument.theme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theme/theme38.xml" ContentType="application/vnd.openxmlformats-officedocument.theme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theme/theme39.xml" ContentType="application/vnd.openxmlformats-officedocument.theme+xml"/>
  <Override PartName="/ppt/tags/tag5.xml" ContentType="application/vnd.openxmlformats-officedocument.presentationml.tags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theme/theme40.xml" ContentType="application/vnd.openxmlformats-officedocument.theme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theme/theme41.xml" ContentType="application/vnd.openxmlformats-officedocument.theme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theme/theme42.xml" ContentType="application/vnd.openxmlformats-officedocument.theme+xml"/>
  <Override PartName="/ppt/tags/tag6.xml" ContentType="application/vnd.openxmlformats-officedocument.presentationml.tags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theme/theme43.xml" ContentType="application/vnd.openxmlformats-officedocument.theme+xml"/>
  <Override PartName="/ppt/theme/theme44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684" r:id="rId3"/>
    <p:sldMasterId id="2147483696" r:id="rId4"/>
    <p:sldMasterId id="2147483708" r:id="rId5"/>
    <p:sldMasterId id="2147483721" r:id="rId6"/>
    <p:sldMasterId id="2147483733" r:id="rId7"/>
    <p:sldMasterId id="2147483745" r:id="rId8"/>
    <p:sldMasterId id="2147483757" r:id="rId9"/>
    <p:sldMasterId id="2147483769" r:id="rId10"/>
    <p:sldMasterId id="2147483781" r:id="rId11"/>
    <p:sldMasterId id="2147483793" r:id="rId12"/>
    <p:sldMasterId id="2147483805" r:id="rId13"/>
    <p:sldMasterId id="2147483817" r:id="rId14"/>
    <p:sldMasterId id="2147483829" r:id="rId15"/>
    <p:sldMasterId id="2147483841" r:id="rId16"/>
    <p:sldMasterId id="2147483853" r:id="rId17"/>
    <p:sldMasterId id="2147483865" r:id="rId18"/>
    <p:sldMasterId id="2147483877" r:id="rId19"/>
    <p:sldMasterId id="2147483889" r:id="rId20"/>
    <p:sldMasterId id="2147483901" r:id="rId21"/>
    <p:sldMasterId id="2147483913" r:id="rId22"/>
    <p:sldMasterId id="2147483925" r:id="rId23"/>
    <p:sldMasterId id="2147483937" r:id="rId24"/>
    <p:sldMasterId id="2147483949" r:id="rId25"/>
    <p:sldMasterId id="2147483961" r:id="rId26"/>
    <p:sldMasterId id="2147483973" r:id="rId27"/>
    <p:sldMasterId id="2147483985" r:id="rId28"/>
    <p:sldMasterId id="2147483997" r:id="rId29"/>
    <p:sldMasterId id="2147484009" r:id="rId30"/>
    <p:sldMasterId id="2147484021" r:id="rId31"/>
    <p:sldMasterId id="2147484033" r:id="rId32"/>
    <p:sldMasterId id="2147484045" r:id="rId33"/>
    <p:sldMasterId id="2147484057" r:id="rId34"/>
    <p:sldMasterId id="2147484069" r:id="rId35"/>
    <p:sldMasterId id="2147484081" r:id="rId36"/>
    <p:sldMasterId id="2147484093" r:id="rId37"/>
    <p:sldMasterId id="2147484105" r:id="rId38"/>
    <p:sldMasterId id="2147484117" r:id="rId39"/>
    <p:sldMasterId id="2147484129" r:id="rId40"/>
    <p:sldMasterId id="2147484141" r:id="rId41"/>
    <p:sldMasterId id="2147484153" r:id="rId42"/>
    <p:sldMasterId id="2147484165" r:id="rId43"/>
  </p:sldMasterIdLst>
  <p:notesMasterIdLst>
    <p:notesMasterId r:id="rId58"/>
  </p:notesMasterIdLst>
  <p:sldIdLst>
    <p:sldId id="257" r:id="rId44"/>
    <p:sldId id="450" r:id="rId45"/>
    <p:sldId id="446" r:id="rId46"/>
    <p:sldId id="451" r:id="rId47"/>
    <p:sldId id="447" r:id="rId48"/>
    <p:sldId id="449" r:id="rId49"/>
    <p:sldId id="448" r:id="rId50"/>
    <p:sldId id="432" r:id="rId51"/>
    <p:sldId id="414" r:id="rId52"/>
    <p:sldId id="435" r:id="rId53"/>
    <p:sldId id="438" r:id="rId54"/>
    <p:sldId id="410" r:id="rId55"/>
    <p:sldId id="439" r:id="rId56"/>
    <p:sldId id="413" r:id="rId57"/>
  </p:sldIdLst>
  <p:sldSz cx="9144000" cy="6858000" type="screen4x3"/>
  <p:notesSz cx="6797675" cy="987425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73545"/>
    <a:srgbClr val="AA0202"/>
    <a:srgbClr val="C10B50"/>
    <a:srgbClr val="339966"/>
    <a:srgbClr val="D5092B"/>
    <a:srgbClr val="2C5689"/>
    <a:srgbClr val="008E40"/>
    <a:srgbClr val="BC0826"/>
    <a:srgbClr val="F85E78"/>
    <a:srgbClr val="C909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67" autoAdjust="0"/>
    <p:restoredTop sz="94660"/>
  </p:normalViewPr>
  <p:slideViewPr>
    <p:cSldViewPr showGuides="1">
      <p:cViewPr>
        <p:scale>
          <a:sx n="75" d="100"/>
          <a:sy n="75" d="100"/>
        </p:scale>
        <p:origin x="-2826" y="-780"/>
      </p:cViewPr>
      <p:guideLst>
        <p:guide orient="horz" pos="618"/>
        <p:guide pos="49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" Target="slides/slide4.xml"/><Relationship Id="rId50" Type="http://schemas.openxmlformats.org/officeDocument/2006/relationships/slide" Target="slides/slide7.xml"/><Relationship Id="rId55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Master" Target="slideMasters/slideMaster41.xml"/><Relationship Id="rId54" Type="http://schemas.openxmlformats.org/officeDocument/2006/relationships/slide" Target="slides/slide11.xml"/><Relationship Id="rId6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" Target="slides/slide2.xml"/><Relationship Id="rId53" Type="http://schemas.openxmlformats.org/officeDocument/2006/relationships/slide" Target="slides/slide10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" Target="slides/slide6.xml"/><Relationship Id="rId57" Type="http://schemas.openxmlformats.org/officeDocument/2006/relationships/slide" Target="slides/slide14.xml"/><Relationship Id="rId61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" Target="slides/slide1.xml"/><Relationship Id="rId52" Type="http://schemas.openxmlformats.org/officeDocument/2006/relationships/slide" Target="slides/slide9.xml"/><Relationship Id="rId60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" Target="slides/slide5.xml"/><Relationship Id="rId56" Type="http://schemas.openxmlformats.org/officeDocument/2006/relationships/slide" Target="slides/slide13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" Target="slides/slide3.xml"/><Relationship Id="rId5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исслед!$D$1</c:f>
              <c:strCache>
                <c:ptCount val="1"/>
                <c:pt idx="0">
                  <c:v>Банки, %</c:v>
                </c:pt>
              </c:strCache>
            </c:strRef>
          </c:tx>
          <c:spPr>
            <a:solidFill>
              <a:srgbClr val="973545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исслед!$B$2:$B$7</c:f>
              <c:strCache>
                <c:ptCount val="6"/>
                <c:pt idx="0">
                  <c:v>Недостаточная залоговая база</c:v>
                </c:pt>
                <c:pt idx="1">
                  <c:v>Недостаточный уровень финансового менеджмента компаний</c:v>
                </c:pt>
                <c:pt idx="2">
                  <c:v>Высокая процентная ставка </c:v>
                </c:pt>
                <c:pt idx="3">
                  <c:v>Продолжительность кредита не соответствует потребностям компаний</c:v>
                </c:pt>
                <c:pt idx="4">
                  <c:v>Компании не используют возможности государственной поддержки </c:v>
                </c:pt>
                <c:pt idx="5">
                  <c:v>Объем кредита не соответствует потребностям компаний</c:v>
                </c:pt>
              </c:strCache>
            </c:strRef>
          </c:cat>
          <c:val>
            <c:numRef>
              <c:f>исслед!$D$2:$D$7</c:f>
              <c:numCache>
                <c:formatCode>0%</c:formatCode>
                <c:ptCount val="6"/>
                <c:pt idx="0">
                  <c:v>0.35638297872340424</c:v>
                </c:pt>
                <c:pt idx="1">
                  <c:v>0.31382978723404253</c:v>
                </c:pt>
                <c:pt idx="2">
                  <c:v>0.13297872340425532</c:v>
                </c:pt>
                <c:pt idx="3">
                  <c:v>7.9787234042553196E-2</c:v>
                </c:pt>
                <c:pt idx="4">
                  <c:v>6.9148936170212769E-2</c:v>
                </c:pt>
                <c:pt idx="5">
                  <c:v>4.7872340425531915E-2</c:v>
                </c:pt>
              </c:numCache>
            </c:numRef>
          </c:val>
        </c:ser>
        <c:ser>
          <c:idx val="1"/>
          <c:order val="1"/>
          <c:tx>
            <c:strRef>
              <c:f>исслед!$E$1</c:f>
              <c:strCache>
                <c:ptCount val="1"/>
                <c:pt idx="0">
                  <c:v>Компании, %</c:v>
                </c:pt>
              </c:strCache>
            </c:strRef>
          </c:tx>
          <c:spPr>
            <a:solidFill>
              <a:schemeClr val="tx2"/>
            </a:solidFill>
          </c:spPr>
          <c:invertIfNegative val="0"/>
          <c:dLbls>
            <c:txPr>
              <a:bodyPr/>
              <a:lstStyle/>
              <a:p>
                <a:pPr>
                  <a:defRPr sz="12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исслед!$B$2:$B$7</c:f>
              <c:strCache>
                <c:ptCount val="6"/>
                <c:pt idx="0">
                  <c:v>Недостаточная залоговая база</c:v>
                </c:pt>
                <c:pt idx="1">
                  <c:v>Недостаточный уровень финансового менеджмента компаний</c:v>
                </c:pt>
                <c:pt idx="2">
                  <c:v>Высокая процентная ставка </c:v>
                </c:pt>
                <c:pt idx="3">
                  <c:v>Продолжительность кредита не соответствует потребностям компаний</c:v>
                </c:pt>
                <c:pt idx="4">
                  <c:v>Компании не используют возможности государственной поддержки </c:v>
                </c:pt>
                <c:pt idx="5">
                  <c:v>Объем кредита не соответствует потребностям компаний</c:v>
                </c:pt>
              </c:strCache>
            </c:strRef>
          </c:cat>
          <c:val>
            <c:numRef>
              <c:f>исслед!$E$2:$E$7</c:f>
              <c:numCache>
                <c:formatCode>0%</c:formatCode>
                <c:ptCount val="6"/>
                <c:pt idx="0">
                  <c:v>0.34399999999999997</c:v>
                </c:pt>
                <c:pt idx="1">
                  <c:v>0.08</c:v>
                </c:pt>
                <c:pt idx="2">
                  <c:v>0.31</c:v>
                </c:pt>
                <c:pt idx="3">
                  <c:v>7.0000000000000007E-2</c:v>
                </c:pt>
                <c:pt idx="4">
                  <c:v>7.0000000000000007E-2</c:v>
                </c:pt>
                <c:pt idx="5">
                  <c:v>0.13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5"/>
        <c:axId val="36135680"/>
        <c:axId val="36137984"/>
      </c:barChart>
      <c:catAx>
        <c:axId val="36135680"/>
        <c:scaling>
          <c:orientation val="maxMin"/>
        </c:scaling>
        <c:delete val="0"/>
        <c:axPos val="l"/>
        <c:majorTickMark val="none"/>
        <c:minorTickMark val="none"/>
        <c:tickLblPos val="nextTo"/>
        <c:txPr>
          <a:bodyPr/>
          <a:lstStyle/>
          <a:p>
            <a:pPr>
              <a:defRPr sz="1200" b="1"/>
            </a:pPr>
            <a:endParaRPr lang="ru-RU"/>
          </a:p>
        </c:txPr>
        <c:crossAx val="36137984"/>
        <c:crosses val="autoZero"/>
        <c:auto val="1"/>
        <c:lblAlgn val="ctr"/>
        <c:lblOffset val="100"/>
        <c:noMultiLvlLbl val="0"/>
      </c:catAx>
      <c:valAx>
        <c:axId val="36137984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36135680"/>
        <c:crosses val="autoZero"/>
        <c:crossBetween val="between"/>
      </c:valAx>
    </c:plotArea>
    <c:legend>
      <c:legendPos val="b"/>
      <c:layout/>
      <c:overlay val="0"/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  <c:showDLblsOverMax val="0"/>
  </c:chart>
  <c:txPr>
    <a:bodyPr/>
    <a:lstStyle/>
    <a:p>
      <a:pPr>
        <a:defRPr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A14C8D-74E1-4A7E-966D-AFE716F36A7C}" type="datetimeFigureOut">
              <a:rPr lang="ru-RU" smtClean="0"/>
              <a:pPr/>
              <a:t>28.08.201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FE9667-6BFA-4E60-931F-D22EE03C2E0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84941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FE9667-6BFA-4E60-931F-D22EE03C2E05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634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387062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4477103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926458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61684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45899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718246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6484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991552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65970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26120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54355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03345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888100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089182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32835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00272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059113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18939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4236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742818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66223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10582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86904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798009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12450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140473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0184926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14715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284968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25332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514955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61070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065928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81304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3029371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37241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994654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38028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005859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21589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901995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19243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73466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518445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014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4084763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1539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539836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57814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25251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361397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3D71BA-E6EF-4F04-8109-09790066637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857831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F7B49-5E34-4738-9357-F12156A3622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71002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BBC6B-7D06-4E36-9F51-3D6C212D9A6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757337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6D61C-B18C-473C-A847-8C9666B936A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09146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8127F8-F5E1-4360-A954-A5FA1B5596B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90510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90794088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B76BCE-9465-4F91-8254-9FB814C2171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3126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17560-388A-4830-83EF-02CD7840D7D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18169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7CC560-EC8A-463B-9D8F-42466DF104F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556214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DFDEB-802B-4D8D-944D-4A1F6D06A6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0644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14EBC-F6BA-4E51-8ED4-A66053E9EA7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627331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1EBAD0-FEFD-4915-A729-F982A1CAA85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17598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924515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11235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618729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5276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2771499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71132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602313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443839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248778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84282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320479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233032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8850179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0111826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0911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2138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85012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727634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969328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518210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036991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930545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094901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92220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6120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771347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4861557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93660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41627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81122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26735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6987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41049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83580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54135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04187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16050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7790970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146601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35397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61475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086992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042260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72479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0215574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4834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8842753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2757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0441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111659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3D71BA-E6EF-4F04-8109-09790066637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388954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F7B49-5E34-4738-9357-F12156A3622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88809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BBC6B-7D06-4E36-9F51-3D6C212D9A6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66484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6D61C-B18C-473C-A847-8C9666B936A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8111060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8127F8-F5E1-4360-A954-A5FA1B5596B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9603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B76BCE-9465-4F91-8254-9FB814C2171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33795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17560-388A-4830-83EF-02CD7840D7D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34739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7CC560-EC8A-463B-9D8F-42466DF104F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46125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DFDEB-802B-4D8D-944D-4A1F6D06A6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5314970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14EBC-F6BA-4E51-8ED4-A66053E9EA7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006267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80840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1EBAD0-FEFD-4915-A729-F982A1CAA85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4229048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890831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386501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70997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84278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0334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6452899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10829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376640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125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3217654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7160027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939408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35177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98923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47920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49668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3237651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696240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69439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936596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299272-ECEC-46F5-B2D9-C67971079E4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592815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941214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38531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032853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D4FBC-F168-4FAD-83E2-BD6829BAF8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38991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654D8-83FE-410F-BD23-A5F0E0D0BD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2921228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DD9676-6608-4762-9528-5BEF927A69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104484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91BCA-0CE4-49F3-B2BD-29F7C472E1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705914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3BC48-4845-4761-B315-1674A312E3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3456583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C97DE-462B-46AF-AA8D-6B3E878FF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133731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902AD2-0083-403E-AE82-2ED0428CDB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36235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87F068-472E-4E8C-8404-CA8FBD1BE7A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887717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19E1E-6D18-483D-8E11-CDB2EFA73D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094036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AFE6-F8CF-41D8-A2AB-D2BCC0E539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3568884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2CBB-08D3-4261-8D38-F1223809E3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4686697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757EC-08EA-4C18-9B65-4F4C2080B7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9881807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95392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80775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9619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25296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59091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08621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76C533-5B53-49AD-B472-48FCBF8AFC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407588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70498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6651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36927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58927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94334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D4FBC-F168-4FAD-83E2-BD6829BAF8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2797012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654D8-83FE-410F-BD23-A5F0E0D0BD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39973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DD9676-6608-4762-9528-5BEF927A69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470476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91BCA-0CE4-49F3-B2BD-29F7C472E1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006425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3BC48-4845-4761-B315-1674A312E37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358260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179FFB-3A91-4266-BE73-9B9D82290C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4509689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C97DE-462B-46AF-AA8D-6B3E878FF4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020504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902AD2-0083-403E-AE82-2ED0428CDBF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180692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19E1E-6D18-483D-8E11-CDB2EFA73D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118275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AFE6-F8CF-41D8-A2AB-D2BCC0E539D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553299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2CBB-08D3-4261-8D38-F1223809E31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4969395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757EC-08EA-4C18-9B65-4F4C2080B75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0244974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9101848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930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605619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77134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BCDBCF-8452-487D-91D4-5B5D0BA664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802250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404372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02670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576529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684057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553459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137135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441085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87564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426812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10047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B0607A-0E46-467A-9851-1C6606DB7A1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5941433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248003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69262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392128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4943210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050736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557007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706544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6573528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990752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6688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3852B7-E683-41BB-84AC-CBF5E9CCDCB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77750480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906759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82280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03047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530252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4357406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132376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3457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3578246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981052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3D71BA-E6EF-4F04-8109-09790066637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64907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691050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28181B-1D04-4F79-B9D0-0ED7425718B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699482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3F7B49-5E34-4738-9357-F12156A3622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44646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BBC6B-7D06-4E36-9F51-3D6C212D9A6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24975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C6D61C-B18C-473C-A847-8C9666B936A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928396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8127F8-F5E1-4360-A954-A5FA1B5596B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3954655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B76BCE-9465-4F91-8254-9FB814C2171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456609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417560-388A-4830-83EF-02CD7840D7D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483339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7CC560-EC8A-463B-9D8F-42466DF104F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484568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9DFDEB-802B-4D8D-944D-4A1F6D06A6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730025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014EBC-F6BA-4E51-8ED4-A66053E9EA7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8507257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1EBAD0-FEFD-4915-A729-F982A1CAA85A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9478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1A9FF6-FBF2-4C03-BE82-26B3C2673A3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37085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2931566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33233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2235999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172970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170745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00298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24587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130902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775796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42416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CA22FE-11D8-417F-A4C0-279482F3600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39012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232529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0231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190883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91042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758492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033113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188082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88927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71917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10858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29765E-51F4-48B4-9371-4675DB29D40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9654644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19636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678183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5623713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342795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8641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1431849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600147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18762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9015312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851387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8E2B51-2B0D-4495-B14F-04A3E3F6018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1755966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7146398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854505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270674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600756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2050754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64498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3463306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86676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77475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55654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E2B8E9-7BD9-47F5-8934-39B42E743DF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9103611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20993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7162158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418829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023641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18404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92102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08641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9718547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346578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93810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8A9442-061B-4216-865B-53B35179DE7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3449963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458987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6835180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709647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8742614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55221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016783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7923885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5787826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16457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0010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7B49B7-B059-424D-94BB-6153B8C646C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9398448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553519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659710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3888696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4305576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5357292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14548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504784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271753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864167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6608413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7E1EE-19EC-47DA-9BE7-8993963B1FC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8594713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3643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27228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478918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221890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1932876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10230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2182116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8341839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2341489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43222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10B4F3-05E1-45C8-966D-BC626FF9664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948475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829871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801544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486066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290581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95367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37513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2897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8131151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025136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0881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2788651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C69D6E-CADC-4785-9FBB-51EDC7D232B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9261352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853068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671556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4666284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270644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357053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1345132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280920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737899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1726929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D4FBC-F168-4FAD-83E2-BD6829BAF8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92611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6D3BBB-61BA-449F-9A47-3A3FF28453A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4806998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654D8-83FE-410F-BD23-A5F0E0D0BD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45158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DD9676-6608-4762-9528-5BEF927A69E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275404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91BCA-0CE4-49F3-B2BD-29F7C472E13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9973336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3BC48-4845-4761-B315-1674A312E37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340133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C97DE-462B-46AF-AA8D-6B3E878FF45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588712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902AD2-0083-403E-AE82-2ED0428CDBF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0236609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19E1E-6D18-483D-8E11-CDB2EFA73D0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47225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AFE6-F8CF-41D8-A2AB-D2BCC0E539D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4695939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2CBB-08D3-4261-8D38-F1223809E31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86302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757EC-08EA-4C18-9B65-4F4C2080B75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61708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19EA2E-2041-4C39-8B2F-AE9D33B88FF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7553878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99096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85454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534787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57801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7754157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150199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319198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457883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90119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6397663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25E74F-5FCB-4BAD-BC66-B4137362CB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494224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68438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D4FBC-F168-4FAD-83E2-BD6829BAF8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15051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654D8-83FE-410F-BD23-A5F0E0D0BD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2889886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DD9676-6608-4762-9528-5BEF927A69E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300049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91BCA-0CE4-49F3-B2BD-29F7C472E13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298191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3BC48-4845-4761-B315-1674A312E37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6811818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C97DE-462B-46AF-AA8D-6B3E878FF45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703863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902AD2-0083-403E-AE82-2ED0428CDBF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088218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19E1E-6D18-483D-8E11-CDB2EFA73D0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414007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AFE6-F8CF-41D8-A2AB-D2BCC0E539D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9838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E649BA-E731-4B08-A518-6F5B0266A73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5082366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2CBB-08D3-4261-8D38-F1223809E31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3792058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757EC-08EA-4C18-9B65-4F4C2080B75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01719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D4FBC-F168-4FAD-83E2-BD6829BAF8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7915949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2654D8-83FE-410F-BD23-A5F0E0D0BD0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9942492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3DD9676-6608-4762-9528-5BEF927A69E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3039972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391BCA-0CE4-49F3-B2BD-29F7C472E13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637910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13BC48-4845-4761-B315-1674A312E37E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669414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AC97DE-462B-46AF-AA8D-6B3E878FF455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19117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902AD2-0083-403E-AE82-2ED0428CDBF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5809249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419E1E-6D18-483D-8E11-CDB2EFA73D0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5574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922454-9273-4C5F-BB55-6BFBE488B0C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2202358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AFE6-F8CF-41D8-A2AB-D2BCC0E539D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193416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A62CBB-08D3-4261-8D38-F1223809E31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85573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F757EC-08EA-4C18-9B65-4F4C2080B75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555236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E22665C-760F-4EBA-AD46-656348EEA3F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7886320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38CE49-36D3-4A3C-A8FE-F9C3850B35E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4890112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DEA1E8-08A0-40D1-B939-B0CA0C3832E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8094311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6AAD5-9E85-4B1E-968D-C1F3A54FCD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557422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D9D972-4DFC-41DE-ACFF-A03A3DC2C243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Rectangle 5"/>
          <p:cNvSpPr>
            <a:spLocks noGrp="1" noChangeArrowheads="1"/>
          </p:cNvSpPr>
          <p:nvPr>
            <p:ph type="ftr" sz="quarter" idx="12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697341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F2D88A-4FCA-4298-BE30-5A925C1DB07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09977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20CF9F-7113-4D17-BC59-CA3A85B8E0F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290668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E4D711-4079-4904-A15B-0B205B80EB4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4806875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B11197-2CF7-473E-ABAB-C77B87164580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20379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946200F-47EC-4409-AB74-267F1715D2CD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724490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B6FDC5-8DB6-44B0-89E2-719DFBAA9C06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942002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1DA695-2267-4980-B546-B2209D58E21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894410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109602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471314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622838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491196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964066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912140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1869989-DD91-4283-A181-34B16AEBDAC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3191622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897775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762536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310135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8435592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396875"/>
            <a:ext cx="2057400" cy="572928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396875"/>
            <a:ext cx="6019800" cy="57292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1C4AB16-D2DA-4254-A48A-81E9B96172C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25757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E0D10C2-1D37-43E1-AFE9-B328DA0C63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981486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DE315B-07A2-4851-8033-2C4466EA497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92721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508999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C32923-7AE0-4330-AAEC-623C03DAC2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53769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3E6F21-50A3-446B-A2C0-BCCB8DC1EA1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623048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E07D18E-7FBA-41D6-872C-74932A2AC7D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419563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F1A89FB-BA3E-4841-910C-14A92C7242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516866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F50A2A-AB5C-481B-84DA-37482556831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56691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2C15F2-A951-4005-B7E4-25BD33B376E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5022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5" y="396875"/>
            <a:ext cx="5627688" cy="346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49954-42F5-4E51-92D6-5E4C086F5C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251175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5C219F8-1433-493D-B620-574E2BEEA1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87780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8AA840-CEA3-45CA-9F3A-0BAAB6D589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28839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8CFF1B-C9B3-4691-8027-478C50E0B7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04174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093719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3716338"/>
            <a:ext cx="3830638" cy="2160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3716338"/>
            <a:ext cx="3830637" cy="21605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EF0EF9-E71B-4CD0-BF02-1FC413F6970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721494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49894C-6CD8-40A9-9DF4-6C15F8D4687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37977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4FC7B-F2BB-400F-AE74-9907FC1F57F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662661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1C9436-EAEA-4DA0-B3DF-DC330C987A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678689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E72659-77F6-4B50-9222-FB31CD47C42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1646055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356DBD-BA53-4E8F-B88A-3410D3E5E36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104574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BF2EC3-534E-4390-94BA-AAA08488834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660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047DE6-E6A6-417D-93DB-CC61ECB58BC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421103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7684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53284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21278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129058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45384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1293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7091583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90984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1173967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638583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914162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1330325"/>
            <a:ext cx="2057400" cy="4795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330325"/>
            <a:ext cx="6019800" cy="4795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185125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204915-9A62-4D04-9504-305490E6ED2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263053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6573631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868515-D421-4EE1-BDC6-38D02DECF7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4122582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B4D29-A0E8-40D7-8DE5-A7320755D57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386703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0575" y="1646238"/>
            <a:ext cx="3830638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773613" y="1646238"/>
            <a:ext cx="3830637" cy="42306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B7985F-6545-4046-986A-7227EBB79C8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969215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09D323E-7C45-4A7A-8BD5-6E3F08CDBC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09965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6F85A4-1378-4AA2-B6C8-94107833E0F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4477002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19BD8B-E644-43F1-A25D-EBF8DB77050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7054046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4362BA-79E4-4388-840A-456BC66ED9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2641205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CD4E4C-1C92-4867-A7E6-4ED68A9A5BA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3379699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ACBF0F-D522-43B4-9834-39BA12E0A3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872032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1625" y="396875"/>
            <a:ext cx="1952625" cy="54800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0575" y="396875"/>
            <a:ext cx="5708650" cy="54800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9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10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38938F-B71D-4AEA-9F78-C3C8F9146AF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1202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472383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202B8A-1EBF-4408-906E-2745C0A6843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569598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4A2F9-CE14-4F99-95ED-7EFC25198C9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755028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6D9F0-DEA1-425C-9C8C-065047F70E3C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29815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C255AC-B32A-440D-A9D8-B6A290E9C0A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119809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C8F31-114F-48AC-82E7-FF4C9473FF8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893662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3B6BC1-2244-47E2-B29A-926F3360948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8503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27868E-43AC-4318-980C-846BE996F12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250471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D85F97-81D6-4E65-9DDD-E4C646A5AA5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11688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5E96D9-F35A-4C4C-9701-AB680B251C7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536931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4FDDA-EEE4-4C1A-BC38-DAEBEB3DD59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205362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theme" Target="../theme/theme10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10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tags" Target="../tags/tag1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theme" Target="../theme/theme11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theme" Target="../theme/theme12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124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tags" Target="../tags/tag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140.xml"/><Relationship Id="rId12" Type="http://schemas.openxmlformats.org/officeDocument/2006/relationships/theme" Target="../theme/theme13.xml"/><Relationship Id="rId2" Type="http://schemas.openxmlformats.org/officeDocument/2006/relationships/slideLayout" Target="../slideLayouts/slideLayout135.xml"/><Relationship Id="rId1" Type="http://schemas.openxmlformats.org/officeDocument/2006/relationships/slideLayout" Target="../slideLayouts/slideLayout134.xml"/><Relationship Id="rId6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44.xml"/><Relationship Id="rId5" Type="http://schemas.openxmlformats.org/officeDocument/2006/relationships/slideLayout" Target="../slideLayouts/slideLayout138.xml"/><Relationship Id="rId10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37.xml"/><Relationship Id="rId9" Type="http://schemas.openxmlformats.org/officeDocument/2006/relationships/slideLayout" Target="../slideLayouts/slideLayout142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11" Type="http://schemas.openxmlformats.org/officeDocument/2006/relationships/slideLayout" Target="../slideLayouts/slideLayout166.xml"/><Relationship Id="rId5" Type="http://schemas.openxmlformats.org/officeDocument/2006/relationships/slideLayout" Target="../slideLayouts/slideLayout160.xml"/><Relationship Id="rId10" Type="http://schemas.openxmlformats.org/officeDocument/2006/relationships/slideLayout" Target="../slideLayouts/slideLayout165.xml"/><Relationship Id="rId4" Type="http://schemas.openxmlformats.org/officeDocument/2006/relationships/slideLayout" Target="../slideLayouts/slideLayout159.xml"/><Relationship Id="rId9" Type="http://schemas.openxmlformats.org/officeDocument/2006/relationships/slideLayout" Target="../slideLayouts/slideLayout164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69.xml"/><Relationship Id="rId7" Type="http://schemas.openxmlformats.org/officeDocument/2006/relationships/slideLayout" Target="../slideLayouts/slideLayout173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68.xml"/><Relationship Id="rId1" Type="http://schemas.openxmlformats.org/officeDocument/2006/relationships/slideLayout" Target="../slideLayouts/slideLayout167.xml"/><Relationship Id="rId6" Type="http://schemas.openxmlformats.org/officeDocument/2006/relationships/slideLayout" Target="../slideLayouts/slideLayout172.xml"/><Relationship Id="rId11" Type="http://schemas.openxmlformats.org/officeDocument/2006/relationships/slideLayout" Target="../slideLayouts/slideLayout177.xml"/><Relationship Id="rId5" Type="http://schemas.openxmlformats.org/officeDocument/2006/relationships/slideLayout" Target="../slideLayouts/slideLayout171.xml"/><Relationship Id="rId10" Type="http://schemas.openxmlformats.org/officeDocument/2006/relationships/slideLayout" Target="../slideLayouts/slideLayout176.xml"/><Relationship Id="rId4" Type="http://schemas.openxmlformats.org/officeDocument/2006/relationships/slideLayout" Target="../slideLayouts/slideLayout170.xml"/><Relationship Id="rId9" Type="http://schemas.openxmlformats.org/officeDocument/2006/relationships/slideLayout" Target="../slideLayouts/slideLayout175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80.xml"/><Relationship Id="rId7" Type="http://schemas.openxmlformats.org/officeDocument/2006/relationships/slideLayout" Target="../slideLayouts/slideLayout184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79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87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6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91.xml"/><Relationship Id="rId7" Type="http://schemas.openxmlformats.org/officeDocument/2006/relationships/slideLayout" Target="../slideLayouts/slideLayout195.xml"/><Relationship Id="rId12" Type="http://schemas.openxmlformats.org/officeDocument/2006/relationships/theme" Target="../theme/theme18.xml"/><Relationship Id="rId2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89.xml"/><Relationship Id="rId6" Type="http://schemas.openxmlformats.org/officeDocument/2006/relationships/slideLayout" Target="../slideLayouts/slideLayout194.xml"/><Relationship Id="rId11" Type="http://schemas.openxmlformats.org/officeDocument/2006/relationships/slideLayout" Target="../slideLayouts/slideLayout199.xml"/><Relationship Id="rId5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98.xml"/><Relationship Id="rId4" Type="http://schemas.openxmlformats.org/officeDocument/2006/relationships/slideLayout" Target="../slideLayouts/slideLayout192.xml"/><Relationship Id="rId9" Type="http://schemas.openxmlformats.org/officeDocument/2006/relationships/slideLayout" Target="../slideLayouts/slideLayout197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7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02.xml"/><Relationship Id="rId7" Type="http://schemas.openxmlformats.org/officeDocument/2006/relationships/slideLayout" Target="../slideLayouts/slideLayout206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slideLayout" Target="../slideLayouts/slideLayout205.xml"/><Relationship Id="rId11" Type="http://schemas.openxmlformats.org/officeDocument/2006/relationships/slideLayout" Target="../slideLayouts/slideLayout210.xml"/><Relationship Id="rId5" Type="http://schemas.openxmlformats.org/officeDocument/2006/relationships/slideLayout" Target="../slideLayouts/slideLayout204.xml"/><Relationship Id="rId10" Type="http://schemas.openxmlformats.org/officeDocument/2006/relationships/slideLayout" Target="../slideLayouts/slideLayout209.xml"/><Relationship Id="rId4" Type="http://schemas.openxmlformats.org/officeDocument/2006/relationships/slideLayout" Target="../slideLayouts/slideLayout203.xml"/><Relationship Id="rId9" Type="http://schemas.openxmlformats.org/officeDocument/2006/relationships/slideLayout" Target="../slideLayouts/slideLayout20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13.xml"/><Relationship Id="rId7" Type="http://schemas.openxmlformats.org/officeDocument/2006/relationships/slideLayout" Target="../slideLayouts/slideLayout217.xml"/><Relationship Id="rId12" Type="http://schemas.openxmlformats.org/officeDocument/2006/relationships/theme" Target="../theme/theme20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6" Type="http://schemas.openxmlformats.org/officeDocument/2006/relationships/slideLayout" Target="../slideLayouts/slideLayout216.xml"/><Relationship Id="rId11" Type="http://schemas.openxmlformats.org/officeDocument/2006/relationships/slideLayout" Target="../slideLayouts/slideLayout221.xml"/><Relationship Id="rId5" Type="http://schemas.openxmlformats.org/officeDocument/2006/relationships/slideLayout" Target="../slideLayouts/slideLayout215.xml"/><Relationship Id="rId10" Type="http://schemas.openxmlformats.org/officeDocument/2006/relationships/slideLayout" Target="../slideLayouts/slideLayout220.xml"/><Relationship Id="rId4" Type="http://schemas.openxmlformats.org/officeDocument/2006/relationships/slideLayout" Target="../slideLayouts/slideLayout214.xml"/><Relationship Id="rId9" Type="http://schemas.openxmlformats.org/officeDocument/2006/relationships/slideLayout" Target="../slideLayouts/slideLayout219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24.xml"/><Relationship Id="rId7" Type="http://schemas.openxmlformats.org/officeDocument/2006/relationships/slideLayout" Target="../slideLayouts/slideLayout228.xml"/><Relationship Id="rId12" Type="http://schemas.openxmlformats.org/officeDocument/2006/relationships/theme" Target="../theme/theme21.xml"/><Relationship Id="rId2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222.xml"/><Relationship Id="rId6" Type="http://schemas.openxmlformats.org/officeDocument/2006/relationships/slideLayout" Target="../slideLayouts/slideLayout227.xml"/><Relationship Id="rId11" Type="http://schemas.openxmlformats.org/officeDocument/2006/relationships/slideLayout" Target="../slideLayouts/slideLayout232.xml"/><Relationship Id="rId5" Type="http://schemas.openxmlformats.org/officeDocument/2006/relationships/slideLayout" Target="../slideLayouts/slideLayout226.xml"/><Relationship Id="rId10" Type="http://schemas.openxmlformats.org/officeDocument/2006/relationships/slideLayout" Target="../slideLayouts/slideLayout231.xml"/><Relationship Id="rId4" Type="http://schemas.openxmlformats.org/officeDocument/2006/relationships/slideLayout" Target="../slideLayouts/slideLayout225.xml"/><Relationship Id="rId9" Type="http://schemas.openxmlformats.org/officeDocument/2006/relationships/slideLayout" Target="../slideLayouts/slideLayout230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246.xml"/><Relationship Id="rId7" Type="http://schemas.openxmlformats.org/officeDocument/2006/relationships/slideLayout" Target="../slideLayouts/slideLayout250.xml"/><Relationship Id="rId12" Type="http://schemas.openxmlformats.org/officeDocument/2006/relationships/theme" Target="../theme/theme23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245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244.xml"/><Relationship Id="rId6" Type="http://schemas.openxmlformats.org/officeDocument/2006/relationships/slideLayout" Target="../slideLayouts/slideLayout249.xml"/><Relationship Id="rId11" Type="http://schemas.openxmlformats.org/officeDocument/2006/relationships/slideLayout" Target="../slideLayouts/slideLayout254.xml"/><Relationship Id="rId5" Type="http://schemas.openxmlformats.org/officeDocument/2006/relationships/slideLayout" Target="../slideLayouts/slideLayout248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253.xml"/><Relationship Id="rId4" Type="http://schemas.openxmlformats.org/officeDocument/2006/relationships/slideLayout" Target="../slideLayouts/slideLayout247.xml"/><Relationship Id="rId9" Type="http://schemas.openxmlformats.org/officeDocument/2006/relationships/slideLayout" Target="../slideLayouts/slideLayout252.xml"/><Relationship Id="rId14" Type="http://schemas.openxmlformats.org/officeDocument/2006/relationships/tags" Target="../tags/tag3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257.xml"/><Relationship Id="rId7" Type="http://schemas.openxmlformats.org/officeDocument/2006/relationships/slideLayout" Target="../slideLayouts/slideLayout261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56.xml"/><Relationship Id="rId1" Type="http://schemas.openxmlformats.org/officeDocument/2006/relationships/slideLayout" Target="../slideLayouts/slideLayout255.xml"/><Relationship Id="rId6" Type="http://schemas.openxmlformats.org/officeDocument/2006/relationships/slideLayout" Target="../slideLayouts/slideLayout260.xml"/><Relationship Id="rId11" Type="http://schemas.openxmlformats.org/officeDocument/2006/relationships/slideLayout" Target="../slideLayouts/slideLayout265.xml"/><Relationship Id="rId5" Type="http://schemas.openxmlformats.org/officeDocument/2006/relationships/slideLayout" Target="../slideLayouts/slideLayout259.xml"/><Relationship Id="rId10" Type="http://schemas.openxmlformats.org/officeDocument/2006/relationships/slideLayout" Target="../slideLayouts/slideLayout264.xml"/><Relationship Id="rId4" Type="http://schemas.openxmlformats.org/officeDocument/2006/relationships/slideLayout" Target="../slideLayouts/slideLayout258.xml"/><Relationship Id="rId9" Type="http://schemas.openxmlformats.org/officeDocument/2006/relationships/slideLayout" Target="../slideLayouts/slideLayout263.x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79.xml"/><Relationship Id="rId7" Type="http://schemas.openxmlformats.org/officeDocument/2006/relationships/slideLayout" Target="../slideLayouts/slideLayout283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278.xml"/><Relationship Id="rId1" Type="http://schemas.openxmlformats.org/officeDocument/2006/relationships/slideLayout" Target="../slideLayouts/slideLayout277.xml"/><Relationship Id="rId6" Type="http://schemas.openxmlformats.org/officeDocument/2006/relationships/slideLayout" Target="../slideLayouts/slideLayout282.xml"/><Relationship Id="rId11" Type="http://schemas.openxmlformats.org/officeDocument/2006/relationships/slideLayout" Target="../slideLayouts/slideLayout287.xml"/><Relationship Id="rId5" Type="http://schemas.openxmlformats.org/officeDocument/2006/relationships/slideLayout" Target="../slideLayouts/slideLayout281.xml"/><Relationship Id="rId10" Type="http://schemas.openxmlformats.org/officeDocument/2006/relationships/slideLayout" Target="../slideLayouts/slideLayout286.xml"/><Relationship Id="rId4" Type="http://schemas.openxmlformats.org/officeDocument/2006/relationships/slideLayout" Target="../slideLayouts/slideLayout280.xml"/><Relationship Id="rId9" Type="http://schemas.openxmlformats.org/officeDocument/2006/relationships/slideLayout" Target="../slideLayouts/slideLayout285.xml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290.xml"/><Relationship Id="rId7" Type="http://schemas.openxmlformats.org/officeDocument/2006/relationships/slideLayout" Target="../slideLayouts/slideLayout294.xml"/><Relationship Id="rId12" Type="http://schemas.openxmlformats.org/officeDocument/2006/relationships/theme" Target="../theme/theme27.xml"/><Relationship Id="rId2" Type="http://schemas.openxmlformats.org/officeDocument/2006/relationships/slideLayout" Target="../slideLayouts/slideLayout289.xml"/><Relationship Id="rId1" Type="http://schemas.openxmlformats.org/officeDocument/2006/relationships/slideLayout" Target="../slideLayouts/slideLayout288.xml"/><Relationship Id="rId6" Type="http://schemas.openxmlformats.org/officeDocument/2006/relationships/slideLayout" Target="../slideLayouts/slideLayout293.xml"/><Relationship Id="rId11" Type="http://schemas.openxmlformats.org/officeDocument/2006/relationships/slideLayout" Target="../slideLayouts/slideLayout298.xml"/><Relationship Id="rId5" Type="http://schemas.openxmlformats.org/officeDocument/2006/relationships/slideLayout" Target="../slideLayouts/slideLayout292.xml"/><Relationship Id="rId10" Type="http://schemas.openxmlformats.org/officeDocument/2006/relationships/slideLayout" Target="../slideLayouts/slideLayout297.xml"/><Relationship Id="rId4" Type="http://schemas.openxmlformats.org/officeDocument/2006/relationships/slideLayout" Target="../slideLayouts/slideLayout291.xml"/><Relationship Id="rId9" Type="http://schemas.openxmlformats.org/officeDocument/2006/relationships/slideLayout" Target="../slideLayouts/slideLayout296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6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01.xml"/><Relationship Id="rId7" Type="http://schemas.openxmlformats.org/officeDocument/2006/relationships/slideLayout" Target="../slideLayouts/slideLayout305.xml"/><Relationship Id="rId12" Type="http://schemas.openxmlformats.org/officeDocument/2006/relationships/theme" Target="../theme/theme28.xml"/><Relationship Id="rId2" Type="http://schemas.openxmlformats.org/officeDocument/2006/relationships/slideLayout" Target="../slideLayouts/slideLayout300.xml"/><Relationship Id="rId1" Type="http://schemas.openxmlformats.org/officeDocument/2006/relationships/slideLayout" Target="../slideLayouts/slideLayout299.xml"/><Relationship Id="rId6" Type="http://schemas.openxmlformats.org/officeDocument/2006/relationships/slideLayout" Target="../slideLayouts/slideLayout304.xml"/><Relationship Id="rId11" Type="http://schemas.openxmlformats.org/officeDocument/2006/relationships/slideLayout" Target="../slideLayouts/slideLayout309.xml"/><Relationship Id="rId5" Type="http://schemas.openxmlformats.org/officeDocument/2006/relationships/slideLayout" Target="../slideLayouts/slideLayout303.xml"/><Relationship Id="rId10" Type="http://schemas.openxmlformats.org/officeDocument/2006/relationships/slideLayout" Target="../slideLayouts/slideLayout308.xml"/><Relationship Id="rId4" Type="http://schemas.openxmlformats.org/officeDocument/2006/relationships/slideLayout" Target="../slideLayouts/slideLayout302.xml"/><Relationship Id="rId9" Type="http://schemas.openxmlformats.org/officeDocument/2006/relationships/slideLayout" Target="../slideLayouts/slideLayout307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12.xml"/><Relationship Id="rId7" Type="http://schemas.openxmlformats.org/officeDocument/2006/relationships/slideLayout" Target="../slideLayouts/slideLayout316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11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0" Type="http://schemas.openxmlformats.org/officeDocument/2006/relationships/slideLayout" Target="../slideLayouts/slideLayout319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327.xml"/><Relationship Id="rId12" Type="http://schemas.openxmlformats.org/officeDocument/2006/relationships/theme" Target="../theme/theme30.xml"/><Relationship Id="rId2" Type="http://schemas.openxmlformats.org/officeDocument/2006/relationships/slideLayout" Target="../slideLayouts/slideLayout322.xml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0" Type="http://schemas.openxmlformats.org/officeDocument/2006/relationships/slideLayout" Target="../slideLayouts/slideLayout330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34.xml"/><Relationship Id="rId7" Type="http://schemas.openxmlformats.org/officeDocument/2006/relationships/slideLayout" Target="../slideLayouts/slideLayout338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33.xml"/><Relationship Id="rId1" Type="http://schemas.openxmlformats.org/officeDocument/2006/relationships/slideLayout" Target="../slideLayouts/slideLayout332.xml"/><Relationship Id="rId6" Type="http://schemas.openxmlformats.org/officeDocument/2006/relationships/slideLayout" Target="../slideLayouts/slideLayout337.xml"/><Relationship Id="rId11" Type="http://schemas.openxmlformats.org/officeDocument/2006/relationships/slideLayout" Target="../slideLayouts/slideLayout342.xml"/><Relationship Id="rId5" Type="http://schemas.openxmlformats.org/officeDocument/2006/relationships/slideLayout" Target="../slideLayouts/slideLayout336.xml"/><Relationship Id="rId10" Type="http://schemas.openxmlformats.org/officeDocument/2006/relationships/slideLayout" Target="../slideLayouts/slideLayout341.xml"/><Relationship Id="rId4" Type="http://schemas.openxmlformats.org/officeDocument/2006/relationships/slideLayout" Target="../slideLayouts/slideLayout335.xml"/><Relationship Id="rId9" Type="http://schemas.openxmlformats.org/officeDocument/2006/relationships/slideLayout" Target="../slideLayouts/slideLayout340.xml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0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45.xml"/><Relationship Id="rId7" Type="http://schemas.openxmlformats.org/officeDocument/2006/relationships/slideLayout" Target="../slideLayouts/slideLayout349.xml"/><Relationship Id="rId12" Type="http://schemas.openxmlformats.org/officeDocument/2006/relationships/theme" Target="../theme/theme32.xml"/><Relationship Id="rId2" Type="http://schemas.openxmlformats.org/officeDocument/2006/relationships/slideLayout" Target="../slideLayouts/slideLayout344.xml"/><Relationship Id="rId1" Type="http://schemas.openxmlformats.org/officeDocument/2006/relationships/slideLayout" Target="../slideLayouts/slideLayout343.xml"/><Relationship Id="rId6" Type="http://schemas.openxmlformats.org/officeDocument/2006/relationships/slideLayout" Target="../slideLayouts/slideLayout348.xml"/><Relationship Id="rId11" Type="http://schemas.openxmlformats.org/officeDocument/2006/relationships/slideLayout" Target="../slideLayouts/slideLayout353.xml"/><Relationship Id="rId5" Type="http://schemas.openxmlformats.org/officeDocument/2006/relationships/slideLayout" Target="../slideLayouts/slideLayout347.xml"/><Relationship Id="rId10" Type="http://schemas.openxmlformats.org/officeDocument/2006/relationships/slideLayout" Target="../slideLayouts/slideLayout352.xml"/><Relationship Id="rId4" Type="http://schemas.openxmlformats.org/officeDocument/2006/relationships/slideLayout" Target="../slideLayouts/slideLayout346.xml"/><Relationship Id="rId9" Type="http://schemas.openxmlformats.org/officeDocument/2006/relationships/slideLayout" Target="../slideLayouts/slideLayout351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56.xml"/><Relationship Id="rId7" Type="http://schemas.openxmlformats.org/officeDocument/2006/relationships/slideLayout" Target="../slideLayouts/slideLayout360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55.xml"/><Relationship Id="rId1" Type="http://schemas.openxmlformats.org/officeDocument/2006/relationships/slideLayout" Target="../slideLayouts/slideLayout354.xml"/><Relationship Id="rId6" Type="http://schemas.openxmlformats.org/officeDocument/2006/relationships/slideLayout" Target="../slideLayouts/slideLayout359.xml"/><Relationship Id="rId11" Type="http://schemas.openxmlformats.org/officeDocument/2006/relationships/slideLayout" Target="../slideLayouts/slideLayout364.xml"/><Relationship Id="rId5" Type="http://schemas.openxmlformats.org/officeDocument/2006/relationships/slideLayout" Target="../slideLayouts/slideLayout358.xml"/><Relationship Id="rId10" Type="http://schemas.openxmlformats.org/officeDocument/2006/relationships/slideLayout" Target="../slideLayouts/slideLayout363.xml"/><Relationship Id="rId4" Type="http://schemas.openxmlformats.org/officeDocument/2006/relationships/slideLayout" Target="../slideLayouts/slideLayout357.xml"/><Relationship Id="rId9" Type="http://schemas.openxmlformats.org/officeDocument/2006/relationships/slideLayout" Target="../slideLayouts/slideLayout362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theme" Target="../theme/theme34.xml"/><Relationship Id="rId2" Type="http://schemas.openxmlformats.org/officeDocument/2006/relationships/slideLayout" Target="../slideLayouts/slideLayout366.xml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0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3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378.xml"/><Relationship Id="rId7" Type="http://schemas.openxmlformats.org/officeDocument/2006/relationships/slideLayout" Target="../slideLayouts/slideLayout382.xml"/><Relationship Id="rId12" Type="http://schemas.openxmlformats.org/officeDocument/2006/relationships/theme" Target="../theme/theme35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377.xml"/><Relationship Id="rId16" Type="http://schemas.openxmlformats.org/officeDocument/2006/relationships/oleObject" Target="../embeddings/oleObject4.bin"/><Relationship Id="rId1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81.xml"/><Relationship Id="rId11" Type="http://schemas.openxmlformats.org/officeDocument/2006/relationships/slideLayout" Target="../slideLayouts/slideLayout386.xml"/><Relationship Id="rId5" Type="http://schemas.openxmlformats.org/officeDocument/2006/relationships/slideLayout" Target="../slideLayouts/slideLayout380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385.xml"/><Relationship Id="rId4" Type="http://schemas.openxmlformats.org/officeDocument/2006/relationships/slideLayout" Target="../slideLayouts/slideLayout379.xml"/><Relationship Id="rId9" Type="http://schemas.openxmlformats.org/officeDocument/2006/relationships/slideLayout" Target="../slideLayouts/slideLayout384.xml"/><Relationship Id="rId14" Type="http://schemas.openxmlformats.org/officeDocument/2006/relationships/tags" Target="../tags/tag4.xml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4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89.xml"/><Relationship Id="rId7" Type="http://schemas.openxmlformats.org/officeDocument/2006/relationships/slideLayout" Target="../slideLayouts/slideLayout393.xml"/><Relationship Id="rId12" Type="http://schemas.openxmlformats.org/officeDocument/2006/relationships/theme" Target="../theme/theme36.xml"/><Relationship Id="rId2" Type="http://schemas.openxmlformats.org/officeDocument/2006/relationships/slideLayout" Target="../slideLayouts/slideLayout388.xml"/><Relationship Id="rId1" Type="http://schemas.openxmlformats.org/officeDocument/2006/relationships/slideLayout" Target="../slideLayouts/slideLayout387.xml"/><Relationship Id="rId6" Type="http://schemas.openxmlformats.org/officeDocument/2006/relationships/slideLayout" Target="../slideLayouts/slideLayout392.xml"/><Relationship Id="rId11" Type="http://schemas.openxmlformats.org/officeDocument/2006/relationships/slideLayout" Target="../slideLayouts/slideLayout397.xml"/><Relationship Id="rId5" Type="http://schemas.openxmlformats.org/officeDocument/2006/relationships/slideLayout" Target="../slideLayouts/slideLayout391.xml"/><Relationship Id="rId10" Type="http://schemas.openxmlformats.org/officeDocument/2006/relationships/slideLayout" Target="../slideLayouts/slideLayout396.xml"/><Relationship Id="rId4" Type="http://schemas.openxmlformats.org/officeDocument/2006/relationships/slideLayout" Target="../slideLayouts/slideLayout390.xml"/><Relationship Id="rId9" Type="http://schemas.openxmlformats.org/officeDocument/2006/relationships/slideLayout" Target="../slideLayouts/slideLayout395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5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00.xml"/><Relationship Id="rId7" Type="http://schemas.openxmlformats.org/officeDocument/2006/relationships/slideLayout" Target="../slideLayouts/slideLayout404.xml"/><Relationship Id="rId12" Type="http://schemas.openxmlformats.org/officeDocument/2006/relationships/theme" Target="../theme/theme37.xml"/><Relationship Id="rId2" Type="http://schemas.openxmlformats.org/officeDocument/2006/relationships/slideLayout" Target="../slideLayouts/slideLayout399.xml"/><Relationship Id="rId1" Type="http://schemas.openxmlformats.org/officeDocument/2006/relationships/slideLayout" Target="../slideLayouts/slideLayout398.xml"/><Relationship Id="rId6" Type="http://schemas.openxmlformats.org/officeDocument/2006/relationships/slideLayout" Target="../slideLayouts/slideLayout403.xml"/><Relationship Id="rId11" Type="http://schemas.openxmlformats.org/officeDocument/2006/relationships/slideLayout" Target="../slideLayouts/slideLayout408.xml"/><Relationship Id="rId5" Type="http://schemas.openxmlformats.org/officeDocument/2006/relationships/slideLayout" Target="../slideLayouts/slideLayout402.xml"/><Relationship Id="rId10" Type="http://schemas.openxmlformats.org/officeDocument/2006/relationships/slideLayout" Target="../slideLayouts/slideLayout407.xml"/><Relationship Id="rId4" Type="http://schemas.openxmlformats.org/officeDocument/2006/relationships/slideLayout" Target="../slideLayouts/slideLayout401.xml"/><Relationship Id="rId9" Type="http://schemas.openxmlformats.org/officeDocument/2006/relationships/slideLayout" Target="../slideLayouts/slideLayout406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6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411.xml"/><Relationship Id="rId7" Type="http://schemas.openxmlformats.org/officeDocument/2006/relationships/slideLayout" Target="../slideLayouts/slideLayout415.xml"/><Relationship Id="rId12" Type="http://schemas.openxmlformats.org/officeDocument/2006/relationships/theme" Target="../theme/theme38.xml"/><Relationship Id="rId2" Type="http://schemas.openxmlformats.org/officeDocument/2006/relationships/slideLayout" Target="../slideLayouts/slideLayout410.xml"/><Relationship Id="rId1" Type="http://schemas.openxmlformats.org/officeDocument/2006/relationships/slideLayout" Target="../slideLayouts/slideLayout409.xml"/><Relationship Id="rId6" Type="http://schemas.openxmlformats.org/officeDocument/2006/relationships/slideLayout" Target="../slideLayouts/slideLayout414.xml"/><Relationship Id="rId11" Type="http://schemas.openxmlformats.org/officeDocument/2006/relationships/slideLayout" Target="../slideLayouts/slideLayout419.xml"/><Relationship Id="rId5" Type="http://schemas.openxmlformats.org/officeDocument/2006/relationships/slideLayout" Target="../slideLayouts/slideLayout413.xml"/><Relationship Id="rId10" Type="http://schemas.openxmlformats.org/officeDocument/2006/relationships/slideLayout" Target="../slideLayouts/slideLayout418.xml"/><Relationship Id="rId4" Type="http://schemas.openxmlformats.org/officeDocument/2006/relationships/slideLayout" Target="../slideLayouts/slideLayout412.xml"/><Relationship Id="rId9" Type="http://schemas.openxmlformats.org/officeDocument/2006/relationships/slideLayout" Target="../slideLayouts/slideLayout417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7.xml"/><Relationship Id="rId13" Type="http://schemas.openxmlformats.org/officeDocument/2006/relationships/vmlDrawing" Target="../drawings/vmlDrawing5.vml"/><Relationship Id="rId3" Type="http://schemas.openxmlformats.org/officeDocument/2006/relationships/slideLayout" Target="../slideLayouts/slideLayout422.xml"/><Relationship Id="rId7" Type="http://schemas.openxmlformats.org/officeDocument/2006/relationships/slideLayout" Target="../slideLayouts/slideLayout426.xml"/><Relationship Id="rId12" Type="http://schemas.openxmlformats.org/officeDocument/2006/relationships/theme" Target="../theme/theme39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421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20.xml"/><Relationship Id="rId6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30.xml"/><Relationship Id="rId5" Type="http://schemas.openxmlformats.org/officeDocument/2006/relationships/slideLayout" Target="../slideLayouts/slideLayout424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29.xml"/><Relationship Id="rId4" Type="http://schemas.openxmlformats.org/officeDocument/2006/relationships/slideLayout" Target="../slideLayouts/slideLayout423.xml"/><Relationship Id="rId9" Type="http://schemas.openxmlformats.org/officeDocument/2006/relationships/slideLayout" Target="../slideLayouts/slideLayout428.xml"/><Relationship Id="rId14" Type="http://schemas.openxmlformats.org/officeDocument/2006/relationships/tags" Target="../tags/tag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8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433.xml"/><Relationship Id="rId7" Type="http://schemas.openxmlformats.org/officeDocument/2006/relationships/slideLayout" Target="../slideLayouts/slideLayout437.xml"/><Relationship Id="rId12" Type="http://schemas.openxmlformats.org/officeDocument/2006/relationships/theme" Target="../theme/theme40.xml"/><Relationship Id="rId2" Type="http://schemas.openxmlformats.org/officeDocument/2006/relationships/slideLayout" Target="../slideLayouts/slideLayout432.xml"/><Relationship Id="rId1" Type="http://schemas.openxmlformats.org/officeDocument/2006/relationships/slideLayout" Target="../slideLayouts/slideLayout431.xml"/><Relationship Id="rId6" Type="http://schemas.openxmlformats.org/officeDocument/2006/relationships/slideLayout" Target="../slideLayouts/slideLayout436.xml"/><Relationship Id="rId11" Type="http://schemas.openxmlformats.org/officeDocument/2006/relationships/slideLayout" Target="../slideLayouts/slideLayout441.xml"/><Relationship Id="rId5" Type="http://schemas.openxmlformats.org/officeDocument/2006/relationships/slideLayout" Target="../slideLayouts/slideLayout435.xml"/><Relationship Id="rId10" Type="http://schemas.openxmlformats.org/officeDocument/2006/relationships/slideLayout" Target="../slideLayouts/slideLayout440.xml"/><Relationship Id="rId4" Type="http://schemas.openxmlformats.org/officeDocument/2006/relationships/slideLayout" Target="../slideLayouts/slideLayout434.xml"/><Relationship Id="rId9" Type="http://schemas.openxmlformats.org/officeDocument/2006/relationships/slideLayout" Target="../slideLayouts/slideLayout439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9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444.xml"/><Relationship Id="rId7" Type="http://schemas.openxmlformats.org/officeDocument/2006/relationships/slideLayout" Target="../slideLayouts/slideLayout448.xml"/><Relationship Id="rId12" Type="http://schemas.openxmlformats.org/officeDocument/2006/relationships/theme" Target="../theme/theme41.xml"/><Relationship Id="rId2" Type="http://schemas.openxmlformats.org/officeDocument/2006/relationships/slideLayout" Target="../slideLayouts/slideLayout443.xml"/><Relationship Id="rId1" Type="http://schemas.openxmlformats.org/officeDocument/2006/relationships/slideLayout" Target="../slideLayouts/slideLayout442.xml"/><Relationship Id="rId6" Type="http://schemas.openxmlformats.org/officeDocument/2006/relationships/slideLayout" Target="../slideLayouts/slideLayout447.xml"/><Relationship Id="rId11" Type="http://schemas.openxmlformats.org/officeDocument/2006/relationships/slideLayout" Target="../slideLayouts/slideLayout452.xml"/><Relationship Id="rId5" Type="http://schemas.openxmlformats.org/officeDocument/2006/relationships/slideLayout" Target="../slideLayouts/slideLayout446.xml"/><Relationship Id="rId10" Type="http://schemas.openxmlformats.org/officeDocument/2006/relationships/slideLayout" Target="../slideLayouts/slideLayout451.xml"/><Relationship Id="rId4" Type="http://schemas.openxmlformats.org/officeDocument/2006/relationships/slideLayout" Target="../slideLayouts/slideLayout445.xml"/><Relationship Id="rId9" Type="http://schemas.openxmlformats.org/officeDocument/2006/relationships/slideLayout" Target="../slideLayouts/slideLayout450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0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455.xml"/><Relationship Id="rId7" Type="http://schemas.openxmlformats.org/officeDocument/2006/relationships/slideLayout" Target="../slideLayouts/slideLayout459.xml"/><Relationship Id="rId12" Type="http://schemas.openxmlformats.org/officeDocument/2006/relationships/theme" Target="../theme/theme42.xml"/><Relationship Id="rId17" Type="http://schemas.openxmlformats.org/officeDocument/2006/relationships/image" Target="../media/image7.emf"/><Relationship Id="rId2" Type="http://schemas.openxmlformats.org/officeDocument/2006/relationships/slideLayout" Target="../slideLayouts/slideLayout454.xml"/><Relationship Id="rId16" Type="http://schemas.openxmlformats.org/officeDocument/2006/relationships/oleObject" Target="../embeddings/oleObject6.bin"/><Relationship Id="rId1" Type="http://schemas.openxmlformats.org/officeDocument/2006/relationships/slideLayout" Target="../slideLayouts/slideLayout453.xml"/><Relationship Id="rId6" Type="http://schemas.openxmlformats.org/officeDocument/2006/relationships/slideLayout" Target="../slideLayouts/slideLayout458.xml"/><Relationship Id="rId11" Type="http://schemas.openxmlformats.org/officeDocument/2006/relationships/slideLayout" Target="../slideLayouts/slideLayout463.xml"/><Relationship Id="rId5" Type="http://schemas.openxmlformats.org/officeDocument/2006/relationships/slideLayout" Target="../slideLayouts/slideLayout457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462.xml"/><Relationship Id="rId4" Type="http://schemas.openxmlformats.org/officeDocument/2006/relationships/slideLayout" Target="../slideLayouts/slideLayout456.xml"/><Relationship Id="rId9" Type="http://schemas.openxmlformats.org/officeDocument/2006/relationships/slideLayout" Target="../slideLayouts/slideLayout461.xml"/><Relationship Id="rId14" Type="http://schemas.openxmlformats.org/officeDocument/2006/relationships/tags" Target="../tags/tag6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466.xml"/><Relationship Id="rId7" Type="http://schemas.openxmlformats.org/officeDocument/2006/relationships/slideLayout" Target="../slideLayouts/slideLayout470.xml"/><Relationship Id="rId12" Type="http://schemas.openxmlformats.org/officeDocument/2006/relationships/theme" Target="../theme/theme43.xml"/><Relationship Id="rId2" Type="http://schemas.openxmlformats.org/officeDocument/2006/relationships/slideLayout" Target="../slideLayouts/slideLayout465.xml"/><Relationship Id="rId1" Type="http://schemas.openxmlformats.org/officeDocument/2006/relationships/slideLayout" Target="../slideLayouts/slideLayout464.xml"/><Relationship Id="rId6" Type="http://schemas.openxmlformats.org/officeDocument/2006/relationships/slideLayout" Target="../slideLayouts/slideLayout469.xml"/><Relationship Id="rId11" Type="http://schemas.openxmlformats.org/officeDocument/2006/relationships/slideLayout" Target="../slideLayouts/slideLayout474.xml"/><Relationship Id="rId5" Type="http://schemas.openxmlformats.org/officeDocument/2006/relationships/slideLayout" Target="../slideLayouts/slideLayout468.xml"/><Relationship Id="rId10" Type="http://schemas.openxmlformats.org/officeDocument/2006/relationships/slideLayout" Target="../slideLayouts/slideLayout473.xml"/><Relationship Id="rId4" Type="http://schemas.openxmlformats.org/officeDocument/2006/relationships/slideLayout" Target="../slideLayouts/slideLayout467.xml"/><Relationship Id="rId9" Type="http://schemas.openxmlformats.org/officeDocument/2006/relationships/slideLayout" Target="../slideLayouts/slideLayout47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4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70.xml"/><Relationship Id="rId7" Type="http://schemas.openxmlformats.org/officeDocument/2006/relationships/slideLayout" Target="../slideLayouts/slideLayout7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77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6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81.xml"/><Relationship Id="rId7" Type="http://schemas.openxmlformats.org/officeDocument/2006/relationships/slideLayout" Target="../slideLayouts/slideLayout8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80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5" Type="http://schemas.openxmlformats.org/officeDocument/2006/relationships/slideLayout" Target="../slideLayouts/slideLayout83.xml"/><Relationship Id="rId10" Type="http://schemas.openxmlformats.org/officeDocument/2006/relationships/slideLayout" Target="../slideLayouts/slideLayout88.xml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1.xml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379403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1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3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7459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1659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459065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5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29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3089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795" r:id="rId2"/>
    <p:sldLayoutId id="2147483796" r:id="rId3"/>
    <p:sldLayoutId id="2147483797" r:id="rId4"/>
    <p:sldLayoutId id="2147483798" r:id="rId5"/>
    <p:sldLayoutId id="2147483799" r:id="rId6"/>
    <p:sldLayoutId id="2147483800" r:id="rId7"/>
    <p:sldLayoutId id="2147483801" r:id="rId8"/>
    <p:sldLayoutId id="2147483802" r:id="rId9"/>
    <p:sldLayoutId id="2147483803" r:id="rId10"/>
    <p:sldLayoutId id="2147483804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446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717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02DF9AA-E977-4CD2-94C0-3EE2C1754C0B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7114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76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0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357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843" r:id="rId2"/>
    <p:sldLayoutId id="2147483844" r:id="rId3"/>
    <p:sldLayoutId id="2147483845" r:id="rId4"/>
    <p:sldLayoutId id="2147483846" r:id="rId5"/>
    <p:sldLayoutId id="2147483847" r:id="rId6"/>
    <p:sldLayoutId id="2147483848" r:id="rId7"/>
    <p:sldLayoutId id="2147483849" r:id="rId8"/>
    <p:sldLayoutId id="2147483850" r:id="rId9"/>
    <p:sldLayoutId id="2147483851" r:id="rId10"/>
    <p:sldLayoutId id="214748385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2844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0150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6" r:id="rId1"/>
    <p:sldLayoutId id="2147483867" r:id="rId2"/>
    <p:sldLayoutId id="2147483868" r:id="rId3"/>
    <p:sldLayoutId id="2147483869" r:id="rId4"/>
    <p:sldLayoutId id="2147483870" r:id="rId5"/>
    <p:sldLayoutId id="2147483871" r:id="rId6"/>
    <p:sldLayoutId id="2147483872" r:id="rId7"/>
    <p:sldLayoutId id="2147483873" r:id="rId8"/>
    <p:sldLayoutId id="2147483874" r:id="rId9"/>
    <p:sldLayoutId id="2147483875" r:id="rId10"/>
    <p:sldLayoutId id="2147483876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717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02DF9AA-E977-4CD2-94C0-3EE2C1754C0B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42197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8" r:id="rId1"/>
    <p:sldLayoutId id="2147483879" r:id="rId2"/>
    <p:sldLayoutId id="2147483880" r:id="rId3"/>
    <p:sldLayoutId id="2147483881" r:id="rId4"/>
    <p:sldLayoutId id="2147483882" r:id="rId5"/>
    <p:sldLayoutId id="2147483883" r:id="rId6"/>
    <p:sldLayoutId id="2147483884" r:id="rId7"/>
    <p:sldLayoutId id="2147483885" r:id="rId8"/>
    <p:sldLayoutId id="2147483886" r:id="rId9"/>
    <p:sldLayoutId id="2147483887" r:id="rId10"/>
    <p:sldLayoutId id="2147483888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9456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0" r:id="rId1"/>
    <p:sldLayoutId id="2147483891" r:id="rId2"/>
    <p:sldLayoutId id="2147483892" r:id="rId3"/>
    <p:sldLayoutId id="2147483893" r:id="rId4"/>
    <p:sldLayoutId id="2147483894" r:id="rId5"/>
    <p:sldLayoutId id="2147483895" r:id="rId6"/>
    <p:sldLayoutId id="2147483896" r:id="rId7"/>
    <p:sldLayoutId id="2147483897" r:id="rId8"/>
    <p:sldLayoutId id="2147483898" r:id="rId9"/>
    <p:sldLayoutId id="2147483899" r:id="rId10"/>
    <p:sldLayoutId id="2147483900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20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2" r:id="rId1"/>
    <p:sldLayoutId id="2147483903" r:id="rId2"/>
    <p:sldLayoutId id="2147483904" r:id="rId3"/>
    <p:sldLayoutId id="2147483905" r:id="rId4"/>
    <p:sldLayoutId id="2147483906" r:id="rId5"/>
    <p:sldLayoutId id="2147483907" r:id="rId6"/>
    <p:sldLayoutId id="2147483908" r:id="rId7"/>
    <p:sldLayoutId id="2147483909" r:id="rId8"/>
    <p:sldLayoutId id="2147483910" r:id="rId9"/>
    <p:sldLayoutId id="2147483911" r:id="rId10"/>
    <p:sldLayoutId id="2147483912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76C0D510-C962-4290-BEFE-0350E75F4D9A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9580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4" r:id="rId1"/>
    <p:sldLayoutId id="2147483915" r:id="rId2"/>
    <p:sldLayoutId id="2147483916" r:id="rId3"/>
    <p:sldLayoutId id="2147483917" r:id="rId4"/>
    <p:sldLayoutId id="2147483918" r:id="rId5"/>
    <p:sldLayoutId id="2147483919" r:id="rId6"/>
    <p:sldLayoutId id="2147483920" r:id="rId7"/>
    <p:sldLayoutId id="2147483921" r:id="rId8"/>
    <p:sldLayoutId id="2147483922" r:id="rId9"/>
    <p:sldLayoutId id="2147483923" r:id="rId10"/>
    <p:sldLayoutId id="2147483924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935711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2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950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76C0D510-C962-4290-BEFE-0350E75F4D9A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732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8678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0" r:id="rId1"/>
    <p:sldLayoutId id="2147483951" r:id="rId2"/>
    <p:sldLayoutId id="2147483952" r:id="rId3"/>
    <p:sldLayoutId id="2147483953" r:id="rId4"/>
    <p:sldLayoutId id="2147483954" r:id="rId5"/>
    <p:sldLayoutId id="2147483955" r:id="rId6"/>
    <p:sldLayoutId id="2147483956" r:id="rId7"/>
    <p:sldLayoutId id="2147483957" r:id="rId8"/>
    <p:sldLayoutId id="2147483958" r:id="rId9"/>
    <p:sldLayoutId id="2147483959" r:id="rId10"/>
    <p:sldLayoutId id="214748396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479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  <p:sldLayoutId id="2147483966" r:id="rId5"/>
    <p:sldLayoutId id="2147483967" r:id="rId6"/>
    <p:sldLayoutId id="2147483968" r:id="rId7"/>
    <p:sldLayoutId id="2147483969" r:id="rId8"/>
    <p:sldLayoutId id="2147483970" r:id="rId9"/>
    <p:sldLayoutId id="2147483971" r:id="rId10"/>
    <p:sldLayoutId id="214748397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38228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4" r:id="rId1"/>
    <p:sldLayoutId id="2147483975" r:id="rId2"/>
    <p:sldLayoutId id="2147483976" r:id="rId3"/>
    <p:sldLayoutId id="2147483977" r:id="rId4"/>
    <p:sldLayoutId id="2147483978" r:id="rId5"/>
    <p:sldLayoutId id="2147483979" r:id="rId6"/>
    <p:sldLayoutId id="2147483980" r:id="rId7"/>
    <p:sldLayoutId id="2147483981" r:id="rId8"/>
    <p:sldLayoutId id="2147483982" r:id="rId9"/>
    <p:sldLayoutId id="2147483983" r:id="rId10"/>
    <p:sldLayoutId id="2147483984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717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>
                <a:cs typeface="+mn-cs"/>
              </a:defRPr>
            </a:lvl1pPr>
          </a:lstStyle>
          <a:p>
            <a:pPr fontAlgn="base">
              <a:spcAft>
                <a:spcPct val="0"/>
              </a:spcAft>
              <a:defRPr/>
            </a:pPr>
            <a:fld id="{D02DF9AA-E977-4CD2-94C0-3EE2C1754C0B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842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6" r:id="rId1"/>
    <p:sldLayoutId id="2147483987" r:id="rId2"/>
    <p:sldLayoutId id="2147483988" r:id="rId3"/>
    <p:sldLayoutId id="2147483989" r:id="rId4"/>
    <p:sldLayoutId id="2147483990" r:id="rId5"/>
    <p:sldLayoutId id="2147483991" r:id="rId6"/>
    <p:sldLayoutId id="2147483992" r:id="rId7"/>
    <p:sldLayoutId id="2147483993" r:id="rId8"/>
    <p:sldLayoutId id="2147483994" r:id="rId9"/>
    <p:sldLayoutId id="2147483995" r:id="rId10"/>
    <p:sldLayoutId id="2147483996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897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8" r:id="rId1"/>
    <p:sldLayoutId id="2147483999" r:id="rId2"/>
    <p:sldLayoutId id="2147484000" r:id="rId3"/>
    <p:sldLayoutId id="2147484001" r:id="rId4"/>
    <p:sldLayoutId id="2147484002" r:id="rId5"/>
    <p:sldLayoutId id="2147484003" r:id="rId6"/>
    <p:sldLayoutId id="2147484004" r:id="rId7"/>
    <p:sldLayoutId id="2147484005" r:id="rId8"/>
    <p:sldLayoutId id="2147484006" r:id="rId9"/>
    <p:sldLayoutId id="2147484007" r:id="rId10"/>
    <p:sldLayoutId id="2147484008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543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93544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F7DB5CED-9B51-4BE1-856C-F2B92124BC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2052" name="Rectangle 10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5896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0" r:id="rId1"/>
    <p:sldLayoutId id="2147484011" r:id="rId2"/>
    <p:sldLayoutId id="2147484012" r:id="rId3"/>
    <p:sldLayoutId id="2147484013" r:id="rId4"/>
    <p:sldLayoutId id="2147484014" r:id="rId5"/>
    <p:sldLayoutId id="2147484015" r:id="rId6"/>
    <p:sldLayoutId id="2147484016" r:id="rId7"/>
    <p:sldLayoutId id="2147484017" r:id="rId8"/>
    <p:sldLayoutId id="2147484018" r:id="rId9"/>
    <p:sldLayoutId id="2147484019" r:id="rId10"/>
    <p:sldLayoutId id="214748402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558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2" r:id="rId1"/>
    <p:sldLayoutId id="2147484023" r:id="rId2"/>
    <p:sldLayoutId id="2147484024" r:id="rId3"/>
    <p:sldLayoutId id="2147484025" r:id="rId4"/>
    <p:sldLayoutId id="2147484026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632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4" r:id="rId1"/>
    <p:sldLayoutId id="2147484035" r:id="rId2"/>
    <p:sldLayoutId id="2147484036" r:id="rId3"/>
    <p:sldLayoutId id="2147484037" r:id="rId4"/>
    <p:sldLayoutId id="2147484038" r:id="rId5"/>
    <p:sldLayoutId id="2147484039" r:id="rId6"/>
    <p:sldLayoutId id="2147484040" r:id="rId7"/>
    <p:sldLayoutId id="2147484041" r:id="rId8"/>
    <p:sldLayoutId id="2147484042" r:id="rId9"/>
    <p:sldLayoutId id="2147484043" r:id="rId10"/>
    <p:sldLayoutId id="2147484044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161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  <p:sldLayoutId id="2147484052" r:id="rId7"/>
    <p:sldLayoutId id="2147484053" r:id="rId8"/>
    <p:sldLayoutId id="2147484054" r:id="rId9"/>
    <p:sldLayoutId id="2147484055" r:id="rId10"/>
    <p:sldLayoutId id="2147484056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2298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187554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0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1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5849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0" r:id="rId1"/>
    <p:sldLayoutId id="2147484071" r:id="rId2"/>
    <p:sldLayoutId id="2147484072" r:id="rId3"/>
    <p:sldLayoutId id="2147484073" r:id="rId4"/>
    <p:sldLayoutId id="2147484074" r:id="rId5"/>
    <p:sldLayoutId id="2147484075" r:id="rId6"/>
    <p:sldLayoutId id="2147484076" r:id="rId7"/>
    <p:sldLayoutId id="2147484077" r:id="rId8"/>
    <p:sldLayoutId id="2147484078" r:id="rId9"/>
    <p:sldLayoutId id="2147484079" r:id="rId10"/>
    <p:sldLayoutId id="2147484080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2182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2" r:id="rId1"/>
    <p:sldLayoutId id="2147484083" r:id="rId2"/>
    <p:sldLayoutId id="2147484084" r:id="rId3"/>
    <p:sldLayoutId id="2147484085" r:id="rId4"/>
    <p:sldLayoutId id="2147484086" r:id="rId5"/>
    <p:sldLayoutId id="2147484087" r:id="rId6"/>
    <p:sldLayoutId id="2147484088" r:id="rId7"/>
    <p:sldLayoutId id="2147484089" r:id="rId8"/>
    <p:sldLayoutId id="2147484090" r:id="rId9"/>
    <p:sldLayoutId id="2147484091" r:id="rId10"/>
    <p:sldLayoutId id="214748409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6373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4" r:id="rId1"/>
    <p:sldLayoutId id="2147484095" r:id="rId2"/>
    <p:sldLayoutId id="2147484096" r:id="rId3"/>
    <p:sldLayoutId id="2147484097" r:id="rId4"/>
    <p:sldLayoutId id="2147484098" r:id="rId5"/>
    <p:sldLayoutId id="2147484099" r:id="rId6"/>
    <p:sldLayoutId id="2147484100" r:id="rId7"/>
    <p:sldLayoutId id="2147484101" r:id="rId8"/>
    <p:sldLayoutId id="2147484102" r:id="rId9"/>
    <p:sldLayoutId id="2147484103" r:id="rId10"/>
    <p:sldLayoutId id="2147484104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76C0D510-C962-4290-BEFE-0350E75F4D9A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521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6" r:id="rId1"/>
    <p:sldLayoutId id="2147484107" r:id="rId2"/>
    <p:sldLayoutId id="2147484108" r:id="rId3"/>
    <p:sldLayoutId id="2147484109" r:id="rId4"/>
    <p:sldLayoutId id="2147484110" r:id="rId5"/>
    <p:sldLayoutId id="2147484111" r:id="rId6"/>
    <p:sldLayoutId id="2147484112" r:id="rId7"/>
    <p:sldLayoutId id="2147484113" r:id="rId8"/>
    <p:sldLayoutId id="2147484114" r:id="rId9"/>
    <p:sldLayoutId id="2147484115" r:id="rId10"/>
    <p:sldLayoutId id="2147484116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5779231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35" name="think-cell Slide" r:id="rId16" imgW="270" imgH="270" progId="">
                  <p:embed/>
                </p:oleObj>
              </mc:Choice>
              <mc:Fallback>
                <p:oleObj name="think-cell Slide" r:id="rId16" imgW="270" imgH="27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5224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8" r:id="rId1"/>
    <p:sldLayoutId id="2147484119" r:id="rId2"/>
    <p:sldLayoutId id="2147484120" r:id="rId3"/>
    <p:sldLayoutId id="2147484121" r:id="rId4"/>
    <p:sldLayoutId id="2147484122" r:id="rId5"/>
    <p:sldLayoutId id="2147484123" r:id="rId6"/>
    <p:sldLayoutId id="2147484124" r:id="rId7"/>
    <p:sldLayoutId id="2147484125" r:id="rId8"/>
    <p:sldLayoutId id="2147484126" r:id="rId9"/>
    <p:sldLayoutId id="2147484127" r:id="rId10"/>
    <p:sldLayoutId id="2147484128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92F19DFA-6A01-4083-9E3F-52856D9E479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1" fontAlgn="base" hangingPunct="1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76C0D510-C962-4290-BEFE-0350E75F4D9A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3880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0" r:id="rId1"/>
    <p:sldLayoutId id="2147484131" r:id="rId2"/>
    <p:sldLayoutId id="2147484132" r:id="rId3"/>
    <p:sldLayoutId id="2147484133" r:id="rId4"/>
    <p:sldLayoutId id="2147484134" r:id="rId5"/>
    <p:sldLayoutId id="2147484135" r:id="rId6"/>
    <p:sldLayoutId id="2147484136" r:id="rId7"/>
    <p:sldLayoutId id="2147484137" r:id="rId8"/>
    <p:sldLayoutId id="2147484138" r:id="rId9"/>
    <p:sldLayoutId id="2147484139" r:id="rId10"/>
    <p:sldLayoutId id="2147484140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07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76C0D510-C962-4290-BEFE-0350E75F4D9A}" type="slidenum">
              <a:rPr lang="ru-RU" sz="1200">
                <a:solidFill>
                  <a:srgbClr val="C7475D"/>
                </a:solidFill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7513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2" r:id="rId1"/>
    <p:sldLayoutId id="2147484143" r:id="rId2"/>
    <p:sldLayoutId id="2147484144" r:id="rId3"/>
    <p:sldLayoutId id="2147484145" r:id="rId4"/>
    <p:sldLayoutId id="2147484146" r:id="rId5"/>
    <p:sldLayoutId id="2147484147" r:id="rId6"/>
    <p:sldLayoutId id="2147484148" r:id="rId7"/>
    <p:sldLayoutId id="2147484149" r:id="rId8"/>
    <p:sldLayoutId id="2147484150" r:id="rId9"/>
    <p:sldLayoutId id="2147484151" r:id="rId10"/>
    <p:sldLayoutId id="2147484152" r:id="rId11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0" fontAlgn="base" hangingPunct="0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0" fontAlgn="base" hangingPunct="0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231482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800">
                <a:solidFill>
                  <a:srgbClr val="2C5689"/>
                </a:solidFill>
              </a:defRPr>
            </a:lvl1pPr>
          </a:lstStyle>
          <a:p>
            <a:pPr fontAlgn="base">
              <a:spcAft>
                <a:spcPct val="0"/>
              </a:spcAft>
              <a:defRPr/>
            </a:pPr>
            <a:r>
              <a:rPr lang="ru-RU" smtClean="0">
                <a:latin typeface="Verdana" pitchFamily="34" charset="0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Verdana" pitchFamily="34" charset="0"/>
            </a:endParaRPr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 fontAlgn="base">
              <a:spcAft>
                <a:spcPct val="0"/>
              </a:spcAft>
              <a:defRPr/>
            </a:pPr>
            <a:fld id="{B8F4D0C7-C4E9-46D2-85E1-9484C4FE3AA5}" type="slidenum">
              <a:rPr lang="ru-RU" sz="1200">
                <a:solidFill>
                  <a:srgbClr val="C7475D"/>
                </a:solidFill>
                <a:latin typeface="Verdana" pitchFamily="34" charset="0"/>
              </a:rPr>
              <a:pPr fontAlgn="base">
                <a:spcAft>
                  <a:spcPct val="0"/>
                </a:spcAft>
                <a:defRPr/>
              </a:pPr>
              <a:t>‹#›</a:t>
            </a:fld>
            <a:endParaRPr lang="ru-RU" sz="1200">
              <a:solidFill>
                <a:srgbClr val="C7475D"/>
              </a:solidFill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86730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4" r:id="rId1"/>
    <p:sldLayoutId id="2147484155" r:id="rId2"/>
    <p:sldLayoutId id="2147484156" r:id="rId3"/>
    <p:sldLayoutId id="2147484157" r:id="rId4"/>
    <p:sldLayoutId id="2147484158" r:id="rId5"/>
    <p:sldLayoutId id="2147484159" r:id="rId6"/>
    <p:sldLayoutId id="2147484160" r:id="rId7"/>
    <p:sldLayoutId id="2147484161" r:id="rId8"/>
    <p:sldLayoutId id="2147484162" r:id="rId9"/>
    <p:sldLayoutId id="2147484163" r:id="rId10"/>
    <p:sldLayoutId id="2147484164" r:id="rId11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365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  <p:sldLayoutId id="2147484167" r:id="rId2"/>
    <p:sldLayoutId id="2147484168" r:id="rId3"/>
    <p:sldLayoutId id="2147484169" r:id="rId4"/>
    <p:sldLayoutId id="2147484170" r:id="rId5"/>
    <p:sldLayoutId id="2147484171" r:id="rId6"/>
    <p:sldLayoutId id="2147484172" r:id="rId7"/>
    <p:sldLayoutId id="2147484173" r:id="rId8"/>
    <p:sldLayoutId id="2147484174" r:id="rId9"/>
    <p:sldLayoutId id="2147484175" r:id="rId10"/>
    <p:sldLayoutId id="2147484176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64196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64197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A3B40B98-DE99-4B7B-9834-C47007A71D9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  <p:sldLayoutId id="2147483720" r:id="rId12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AutoNum type="arabicPeriod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1" fontAlgn="base" hangingPunct="1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AutoNum type="alphaLcPeriod"/>
        <a:defRPr sz="1500">
          <a:solidFill>
            <a:schemeClr val="tx1"/>
          </a:solidFill>
          <a:latin typeface="+mn-lt"/>
        </a:defRPr>
      </a:lvl2pPr>
      <a:lvl3pPr marL="1619250" indent="-4572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951038" indent="-3810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359025" indent="-3810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816225" indent="-3810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273425" indent="-3810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730625" indent="-3810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187825" indent="-3810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3716338"/>
            <a:ext cx="7813675" cy="21605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90820" name="Rectangle 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9082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4F51A26B-6C46-44D1-9FCE-5FB853A3D6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1" fontAlgn="base" hangingPunct="1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679450" y="1330325"/>
            <a:ext cx="5627688" cy="1008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ПАСИБО</a:t>
            </a:r>
            <a:br>
              <a:rPr lang="ru-RU" altLang="ru-RU" smtClean="0"/>
            </a:br>
            <a:r>
              <a:rPr lang="ru-RU" altLang="ru-RU" smtClean="0"/>
              <a:t>ЗА ВНИМАНИЕ!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4" r:id="rId1"/>
    <p:sldLayoutId id="2147483735" r:id="rId2"/>
    <p:sldLayoutId id="2147483736" r:id="rId3"/>
    <p:sldLayoutId id="2147483737" r:id="rId4"/>
    <p:sldLayoutId id="2147483738" r:id="rId5"/>
    <p:sldLayoutId id="2147483739" r:id="rId6"/>
    <p:sldLayoutId id="2147483740" r:id="rId7"/>
    <p:sldLayoutId id="2147483741" r:id="rId8"/>
    <p:sldLayoutId id="2147483742" r:id="rId9"/>
    <p:sldLayoutId id="2147483743" r:id="rId10"/>
    <p:sldLayoutId id="2147483744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 b="1">
          <a:solidFill>
            <a:srgbClr val="2C5689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90575" y="1646238"/>
            <a:ext cx="7813675" cy="4230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7171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215049" name="Rectangle 9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  <a:cs typeface="+mn-cs"/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215050" name="Rectangle 1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>
                <a:cs typeface="+mn-cs"/>
              </a:defRPr>
            </a:lvl1pPr>
          </a:lstStyle>
          <a:p>
            <a:pPr>
              <a:defRPr/>
            </a:pPr>
            <a:fld id="{43C6991C-ECF6-4E30-9FF9-9D58637C272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61950" indent="-361950" algn="l" rtl="0" eaLnBrk="1" fontAlgn="base" hangingPunct="1">
        <a:spcBef>
          <a:spcPct val="20000"/>
        </a:spcBef>
        <a:spcAft>
          <a:spcPct val="0"/>
        </a:spcAft>
        <a:buClr>
          <a:srgbClr val="2C5689"/>
        </a:buClr>
        <a:buFont typeface="Arial" charset="0"/>
        <a:buChar char="▬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982663" indent="-441325" algn="l" rtl="0" eaLnBrk="1" fontAlgn="base" hangingPunct="1">
        <a:spcBef>
          <a:spcPct val="20000"/>
        </a:spcBef>
        <a:spcAft>
          <a:spcPct val="0"/>
        </a:spcAft>
        <a:buClr>
          <a:srgbClr val="D3D3D3"/>
        </a:buClr>
        <a:buFont typeface="Arial" charset="0"/>
        <a:buChar char="▬"/>
        <a:defRPr sz="1500">
          <a:solidFill>
            <a:schemeClr val="tx1"/>
          </a:solidFill>
          <a:latin typeface="+mn-lt"/>
        </a:defRPr>
      </a:lvl2pPr>
      <a:lvl3pPr marL="139065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Arial" charset="0"/>
        </a:defRPr>
      </a:lvl3pPr>
      <a:lvl4pPr marL="1798638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Arial" charset="0"/>
        </a:defRPr>
      </a:lvl4pPr>
      <a:lvl5pPr marL="22066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5pPr>
      <a:lvl6pPr marL="26638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6pPr>
      <a:lvl7pPr marL="31210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7pPr>
      <a:lvl8pPr marL="35782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8pPr>
      <a:lvl9pPr marL="4035425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396875"/>
            <a:ext cx="5627688" cy="346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СОДЕРЖАНИЕ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428750" y="6359525"/>
            <a:ext cx="5087938" cy="249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FontTx/>
              <a:buNone/>
              <a:defRPr sz="900">
                <a:solidFill>
                  <a:srgbClr val="2C5689"/>
                </a:solidFill>
              </a:defRPr>
            </a:lvl1pPr>
          </a:lstStyle>
          <a:p>
            <a:pPr>
              <a:defRPr/>
            </a:pPr>
            <a:r>
              <a:rPr lang="ru-RU" smtClean="0"/>
              <a:t>МЕХАНИЗМЫ МИНИМИЗАЦИИ РИСКОВ РОССИЙСКИХ БАНКОВ ПРИ ЭКСПОРТНОМ ФИНАНСИРОВАНИИ </a:t>
            </a:r>
            <a:endParaRPr lang="ru-RU"/>
          </a:p>
        </p:txBody>
      </p:sp>
      <p:sp>
        <p:nvSpPr>
          <p:cNvPr id="1229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87375" y="6337300"/>
            <a:ext cx="64928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FontTx/>
              <a:buNone/>
              <a:defRPr/>
            </a:lvl1pPr>
          </a:lstStyle>
          <a:p>
            <a:pPr>
              <a:defRPr/>
            </a:pPr>
            <a:fld id="{35DC218C-89C5-4CB2-979F-E91870A45E22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4543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  <p:sldLayoutId id="2147483765" r:id="rId8"/>
    <p:sldLayoutId id="2147483766" r:id="rId9"/>
    <p:sldLayoutId id="2147483767" r:id="rId10"/>
    <p:sldLayoutId id="2147483768" r:id="rId11"/>
  </p:sldLayoutIdLst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15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43.xml"/><Relationship Id="rId6" Type="http://schemas.openxmlformats.org/officeDocument/2006/relationships/image" Target="../media/image19.jpeg"/><Relationship Id="rId5" Type="http://schemas.openxmlformats.org/officeDocument/2006/relationships/hyperlink" Target="http://www.google.ru/url?sa=i&amp;rct=j&amp;q=&amp;esrc=s&amp;frm=1&amp;source=images&amp;cd=&amp;cad=rja&amp;uact=8&amp;docid=SJNzzVXgWJY3KM&amp;tbnid=OB-jZaRzDjkwMM:&amp;ved=0CAUQjRw&amp;url=http://www.rediff.com/business/Union-Budget-2012-13/headlines&amp;ei=hvn1U9k-qdPhBI6hgJgG&amp;bvm=bv.73231344,d.bGE&amp;psig=AFQjCNGaKZNGLsNBa-t4usv0dnD5QA7a3g&amp;ust=1408715481152686" TargetMode="Externa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Layout" Target="../slideLayouts/slideLayout458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gif"/><Relationship Id="rId18" Type="http://schemas.openxmlformats.org/officeDocument/2006/relationships/image" Target="../media/image36.gif"/><Relationship Id="rId3" Type="http://schemas.openxmlformats.org/officeDocument/2006/relationships/image" Target="../media/image21.png"/><Relationship Id="rId21" Type="http://schemas.openxmlformats.org/officeDocument/2006/relationships/image" Target="../media/image39.png"/><Relationship Id="rId7" Type="http://schemas.openxmlformats.org/officeDocument/2006/relationships/image" Target="../media/image25.jpeg"/><Relationship Id="rId12" Type="http://schemas.openxmlformats.org/officeDocument/2006/relationships/image" Target="../media/image30.png"/><Relationship Id="rId17" Type="http://schemas.openxmlformats.org/officeDocument/2006/relationships/image" Target="../media/image35.jpeg"/><Relationship Id="rId2" Type="http://schemas.openxmlformats.org/officeDocument/2006/relationships/image" Target="../media/image9.jpeg"/><Relationship Id="rId16" Type="http://schemas.openxmlformats.org/officeDocument/2006/relationships/image" Target="../media/image34.png"/><Relationship Id="rId20" Type="http://schemas.openxmlformats.org/officeDocument/2006/relationships/image" Target="../media/image38.png"/><Relationship Id="rId1" Type="http://schemas.openxmlformats.org/officeDocument/2006/relationships/slideLayout" Target="../slideLayouts/slideLayout271.xml"/><Relationship Id="rId6" Type="http://schemas.openxmlformats.org/officeDocument/2006/relationships/image" Target="../media/image24.png"/><Relationship Id="rId11" Type="http://schemas.openxmlformats.org/officeDocument/2006/relationships/image" Target="../media/image29.png"/><Relationship Id="rId5" Type="http://schemas.openxmlformats.org/officeDocument/2006/relationships/image" Target="../media/image23.gif"/><Relationship Id="rId15" Type="http://schemas.openxmlformats.org/officeDocument/2006/relationships/image" Target="../media/image33.png"/><Relationship Id="rId23" Type="http://schemas.openxmlformats.org/officeDocument/2006/relationships/image" Target="../media/image41.png"/><Relationship Id="rId10" Type="http://schemas.openxmlformats.org/officeDocument/2006/relationships/image" Target="../media/image28.gif"/><Relationship Id="rId19" Type="http://schemas.openxmlformats.org/officeDocument/2006/relationships/image" Target="../media/image37.png"/><Relationship Id="rId4" Type="http://schemas.openxmlformats.org/officeDocument/2006/relationships/image" Target="../media/image22.jpe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4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69.xml"/><Relationship Id="rId4" Type="http://schemas.openxmlformats.org/officeDocument/2006/relationships/image" Target="../media/image4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3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26.xml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3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3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32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6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849313" y="6348413"/>
            <a:ext cx="6938962" cy="28733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l" eaLnBrk="1" hangingPunct="1"/>
            <a:r>
              <a:rPr lang="ru-RU" altLang="ru-RU" sz="900" dirty="0" smtClean="0">
                <a:solidFill>
                  <a:srgbClr val="2C5689"/>
                </a:solidFill>
                <a:latin typeface="Verdana" pitchFamily="34" charset="0"/>
              </a:rPr>
              <a:t>Сочи, сентябрь 2014 года</a:t>
            </a: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792163" y="4588594"/>
            <a:ext cx="7812087" cy="993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 fontScale="97500" lnSpcReduction="10000"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2200" b="1" kern="0" dirty="0" smtClean="0">
                <a:latin typeface="Verdana" pitchFamily="34" charset="0"/>
                <a:ea typeface="+mj-ea"/>
                <a:cs typeface="+mj-cs"/>
              </a:rPr>
              <a:t>МЕХАНИЗМЫ МИНИМИЗАЦИИ РИСКОВ РОССИЙСКИХ БАНКОВ ПРИ ЭКСПОРТНОМ ФИНАНСИРОВАНИИ </a:t>
            </a:r>
            <a:endParaRPr kumimoji="0" lang="ru-RU" altLang="ru-RU" sz="2200" b="1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Verdana" pitchFamily="34" charset="0"/>
              <a:ea typeface="+mj-ea"/>
              <a:cs typeface="+mj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792163" y="4077072"/>
            <a:ext cx="252024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altLang="ru-RU" sz="2200" b="1" kern="0" dirty="0">
                <a:solidFill>
                  <a:srgbClr val="2C5689"/>
                </a:solidFill>
                <a:latin typeface="Verdana" pitchFamily="34" charset="0"/>
              </a:rPr>
              <a:t>ОАО «ЭКСАР</a:t>
            </a:r>
            <a:r>
              <a:rPr lang="ru-RU" altLang="ru-RU" sz="2200" b="1" kern="0" dirty="0" smtClean="0">
                <a:solidFill>
                  <a:srgbClr val="2C5689"/>
                </a:solidFill>
                <a:latin typeface="Verdana" pitchFamily="34" charset="0"/>
              </a:rPr>
              <a:t>»</a:t>
            </a:r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1713448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Прямая со стрелкой 24"/>
          <p:cNvCxnSpPr/>
          <p:nvPr/>
        </p:nvCxnSpPr>
        <p:spPr bwMode="auto">
          <a:xfrm flipH="1" flipV="1">
            <a:off x="2843217" y="3028953"/>
            <a:ext cx="2450302" cy="4760"/>
          </a:xfrm>
          <a:prstGeom prst="straightConnector1">
            <a:avLst/>
          </a:prstGeom>
          <a:ln>
            <a:tailEnd type="arrow"/>
          </a:ln>
          <a:extLst/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22209" cy="346075"/>
          </a:xfrm>
        </p:spPr>
        <p:txBody>
          <a:bodyPr/>
          <a:lstStyle/>
          <a:p>
            <a:r>
              <a:rPr lang="ru-RU" sz="1400" dirty="0" smtClean="0"/>
              <a:t>СТРАХОВАНИЕ КРЕДИТА НА ПОПОЛНЕНИЕ ОБОРОТНЫХ СРЕДСТВ ЭКСПОРТЕРА</a:t>
            </a:r>
            <a:endParaRPr lang="ru-RU" sz="1400" dirty="0"/>
          </a:p>
        </p:txBody>
      </p:sp>
      <p:grpSp>
        <p:nvGrpSpPr>
          <p:cNvPr id="56" name="Группа 55"/>
          <p:cNvGrpSpPr/>
          <p:nvPr/>
        </p:nvGrpSpPr>
        <p:grpSpPr>
          <a:xfrm>
            <a:off x="790575" y="855938"/>
            <a:ext cx="7813675" cy="2789085"/>
            <a:chOff x="799966" y="1026494"/>
            <a:chExt cx="7685732" cy="2628109"/>
          </a:xfrm>
        </p:grpSpPr>
        <p:sp>
          <p:nvSpPr>
            <p:cNvPr id="22" name="Text Box 26"/>
            <p:cNvSpPr txBox="1">
              <a:spLocks noChangeArrowheads="1"/>
            </p:cNvSpPr>
            <p:nvPr/>
          </p:nvSpPr>
          <p:spPr bwMode="auto">
            <a:xfrm>
              <a:off x="5457417" y="1028258"/>
              <a:ext cx="3028281" cy="947386"/>
            </a:xfrm>
            <a:prstGeom prst="rect">
              <a:avLst/>
            </a:prstGeom>
            <a:ln>
              <a:solidFill>
                <a:schemeClr val="tx2"/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lIns="0" tIns="0" rIns="0" bIns="0" anchor="ctr">
              <a:normAutofit/>
            </a:bodyPr>
            <a:lstStyle>
              <a:defPPr>
                <a:defRPr lang="ru-RU"/>
              </a:defPPr>
              <a:lvl1pPr algn="ctr" eaLnBrk="1" hangingPunct="1">
                <a:lnSpc>
                  <a:spcPct val="100000"/>
                </a:lnSpc>
                <a:defRPr sz="16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endParaRPr lang="ru-RU" sz="1400" dirty="0" smtClean="0">
                <a:solidFill>
                  <a:srgbClr val="FFFFFF"/>
                </a:solidFill>
              </a:endParaRPr>
            </a:p>
            <a:p>
              <a:pPr>
                <a:defRPr/>
              </a:pPr>
              <a:endParaRPr lang="ru-RU" sz="1400" dirty="0" smtClean="0">
                <a:solidFill>
                  <a:srgbClr val="FFFFFF"/>
                </a:solidFill>
              </a:endParaRPr>
            </a:p>
            <a:p>
              <a:pPr>
                <a:defRPr/>
              </a:pPr>
              <a:r>
                <a:rPr lang="ru-RU" sz="1400" dirty="0" smtClean="0">
                  <a:solidFill>
                    <a:schemeClr val="tx1"/>
                  </a:solidFill>
                </a:rPr>
                <a:t>(Страхователь </a:t>
              </a:r>
              <a:r>
                <a:rPr lang="ru-RU" sz="1400" dirty="0">
                  <a:solidFill>
                    <a:schemeClr val="tx1"/>
                  </a:solidFill>
                </a:rPr>
                <a:t>и </a:t>
              </a:r>
              <a:r>
                <a:rPr lang="ru-RU" sz="1400" dirty="0" smtClean="0">
                  <a:solidFill>
                    <a:schemeClr val="tx1"/>
                  </a:solidFill>
                </a:rPr>
                <a:t>кредитор)</a:t>
              </a:r>
              <a:endParaRPr lang="ru-RU" sz="1400" dirty="0">
                <a:solidFill>
                  <a:schemeClr val="tx1"/>
                </a:solidFill>
              </a:endParaRPr>
            </a:p>
          </p:txBody>
        </p:sp>
        <p:sp>
          <p:nvSpPr>
            <p:cNvPr id="28" name="Text Box 26"/>
            <p:cNvSpPr txBox="1">
              <a:spLocks noChangeArrowheads="1"/>
            </p:cNvSpPr>
            <p:nvPr/>
          </p:nvSpPr>
          <p:spPr bwMode="auto">
            <a:xfrm>
              <a:off x="5457417" y="2684120"/>
              <a:ext cx="3028281" cy="950238"/>
            </a:xfrm>
            <a:prstGeom prst="rect">
              <a:avLst/>
            </a:prstGeom>
            <a:solidFill>
              <a:srgbClr val="2C5689"/>
            </a:solidFill>
            <a:ln>
              <a:solidFill>
                <a:schemeClr val="tx2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normAutofit/>
            </a:bodyPr>
            <a:lstStyle>
              <a:defPPr>
                <a:defRPr lang="ru-RU"/>
              </a:defPPr>
              <a:lvl1pPr algn="ctr" eaLnBrk="1" hangingPunct="1">
                <a:lnSpc>
                  <a:spcPct val="100000"/>
                </a:lnSpc>
                <a:defRPr sz="16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r>
                <a:rPr lang="ru-RU" sz="1400" dirty="0">
                  <a:solidFill>
                    <a:srgbClr val="FFFFFF"/>
                  </a:solidFill>
                </a:rPr>
                <a:t>ОАО «Корпорация экспорта Республики Татарстан</a:t>
              </a:r>
              <a:r>
                <a:rPr lang="ru-RU" sz="1400" dirty="0" smtClean="0">
                  <a:solidFill>
                    <a:srgbClr val="FFFFFF"/>
                  </a:solidFill>
                </a:rPr>
                <a:t>»</a:t>
              </a:r>
            </a:p>
            <a:p>
              <a:pPr>
                <a:defRPr/>
              </a:pPr>
              <a:r>
                <a:rPr lang="ru-RU" sz="1400" dirty="0" smtClean="0">
                  <a:solidFill>
                    <a:srgbClr val="FFFFFF"/>
                  </a:solidFill>
                </a:rPr>
                <a:t>(Экспортер и заёмщик)</a:t>
              </a:r>
              <a:endParaRPr lang="ru-RU" sz="1400" dirty="0">
                <a:solidFill>
                  <a:srgbClr val="FFFFFF"/>
                </a:solidFill>
              </a:endParaRPr>
            </a:p>
          </p:txBody>
        </p:sp>
        <p:sp>
          <p:nvSpPr>
            <p:cNvPr id="29" name="Text Box 26"/>
            <p:cNvSpPr txBox="1">
              <a:spLocks noChangeArrowheads="1"/>
            </p:cNvSpPr>
            <p:nvPr/>
          </p:nvSpPr>
          <p:spPr bwMode="auto">
            <a:xfrm>
              <a:off x="799966" y="2704365"/>
              <a:ext cx="2039293" cy="950238"/>
            </a:xfrm>
            <a:prstGeom prst="rect">
              <a:avLst/>
            </a:prstGeom>
            <a:solidFill>
              <a:srgbClr val="2C5689"/>
            </a:solidFill>
            <a:ln>
              <a:solidFill>
                <a:schemeClr val="tx2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>
              <a:normAutofit/>
            </a:bodyPr>
            <a:lstStyle>
              <a:defPPr>
                <a:defRPr lang="ru-RU"/>
              </a:defPPr>
              <a:lvl1pPr algn="ctr" eaLnBrk="1" hangingPunct="1">
                <a:lnSpc>
                  <a:spcPct val="100000"/>
                </a:lnSpc>
                <a:defRPr sz="1600" b="1">
                  <a:solidFill>
                    <a:schemeClr val="bg1"/>
                  </a:solidFill>
                  <a:latin typeface="Verdana" pitchFamily="34" charset="0"/>
                </a:defRPr>
              </a:lvl1pPr>
              <a:lvl2pPr marL="742950" indent="-28575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2pPr>
              <a:lvl3pPr marL="11430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3pPr>
              <a:lvl4pPr marL="16002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4pPr>
              <a:lvl5pPr marL="2057400" indent="-228600" eaLnBrk="0" hangingPunct="0">
                <a:defRPr>
                  <a:solidFill>
                    <a:srgbClr val="C7475D"/>
                  </a:solidFill>
                  <a:latin typeface="Verdana" pitchFamily="34" charset="0"/>
                </a:defRPr>
              </a:lvl5pPr>
              <a:lvl6pPr marL="25146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6pPr>
              <a:lvl7pPr marL="29718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7pPr>
              <a:lvl8pPr marL="34290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8pPr>
              <a:lvl9pPr marL="3886200" indent="-228600" eaLnBrk="0" fontAlgn="base" hangingPunct="0">
                <a:spcBef>
                  <a:spcPct val="50000"/>
                </a:spcBef>
                <a:spcAft>
                  <a:spcPct val="0"/>
                </a:spcAft>
                <a:buFont typeface="Arial" charset="0"/>
                <a:defRPr>
                  <a:solidFill>
                    <a:srgbClr val="C7475D"/>
                  </a:solidFill>
                  <a:latin typeface="Verdana" pitchFamily="34" charset="0"/>
                </a:defRPr>
              </a:lvl9pPr>
            </a:lstStyle>
            <a:p>
              <a:pPr>
                <a:defRPr/>
              </a:pPr>
              <a:r>
                <a:rPr lang="ru-RU" sz="1400" dirty="0" smtClean="0">
                  <a:solidFill>
                    <a:srgbClr val="FFFFFF"/>
                  </a:solidFill>
                </a:rPr>
                <a:t>ПОКУПАТЕЛЬ</a:t>
              </a:r>
            </a:p>
            <a:p>
              <a:pPr>
                <a:defRPr/>
              </a:pPr>
              <a:r>
                <a:rPr lang="ru-RU" sz="1400" dirty="0" smtClean="0">
                  <a:solidFill>
                    <a:srgbClr val="FFFFFF"/>
                  </a:solidFill>
                </a:rPr>
                <a:t>(Латинская Америка)</a:t>
              </a:r>
              <a:endParaRPr lang="ru-RU" sz="1400" dirty="0">
                <a:solidFill>
                  <a:srgbClr val="FFFFFF"/>
                </a:solidFill>
              </a:endParaRPr>
            </a:p>
          </p:txBody>
        </p:sp>
        <p:pic>
          <p:nvPicPr>
            <p:cNvPr id="30" name="Рисунок 1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9967" y="1041454"/>
              <a:ext cx="2039292" cy="94738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1" name="Прямая со стрелкой 30"/>
            <p:cNvCxnSpPr>
              <a:stCxn id="30" idx="3"/>
            </p:cNvCxnSpPr>
            <p:nvPr/>
          </p:nvCxnSpPr>
          <p:spPr bwMode="auto">
            <a:xfrm flipV="1">
              <a:off x="2839259" y="1508211"/>
              <a:ext cx="2684429" cy="6937"/>
            </a:xfrm>
            <a:prstGeom prst="straightConnector1">
              <a:avLst/>
            </a:prstGeom>
            <a:ln>
              <a:tailEnd type="arrow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2" name="Поле 30"/>
            <p:cNvSpPr txBox="1"/>
            <p:nvPr/>
          </p:nvSpPr>
          <p:spPr bwMode="auto">
            <a:xfrm>
              <a:off x="2915816" y="1026494"/>
              <a:ext cx="2541601" cy="456847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>
              <a:defPPr>
                <a:defRPr lang="ru-RU"/>
              </a:defPPr>
              <a:lvl1pPr algn="r">
                <a:lnSpc>
                  <a:spcPct val="115000"/>
                </a:lnSpc>
                <a:spcAft>
                  <a:spcPts val="1000"/>
                </a:spcAft>
                <a:defRPr sz="1100" b="1">
                  <a:latin typeface="+mj-lt"/>
                  <a:ea typeface="Calibri"/>
                  <a:cs typeface="Times New Roman"/>
                </a:defRPr>
              </a:lvl1pPr>
            </a:lstStyle>
            <a:p>
              <a:pPr algn="ctr">
                <a:defRPr/>
              </a:pPr>
              <a:r>
                <a:rPr lang="ru-RU" sz="1600" dirty="0">
                  <a:solidFill>
                    <a:srgbClr val="000000"/>
                  </a:solidFill>
                </a:rPr>
                <a:t>Договор</a:t>
              </a:r>
              <a:br>
                <a:rPr lang="ru-RU" sz="1600" dirty="0">
                  <a:solidFill>
                    <a:srgbClr val="000000"/>
                  </a:solidFill>
                </a:rPr>
              </a:br>
              <a:r>
                <a:rPr lang="ru-RU" sz="1600" dirty="0">
                  <a:solidFill>
                    <a:srgbClr val="000000"/>
                  </a:solidFill>
                </a:rPr>
                <a:t>страхования</a:t>
              </a:r>
            </a:p>
          </p:txBody>
        </p:sp>
        <p:cxnSp>
          <p:nvCxnSpPr>
            <p:cNvPr id="35" name="Прямая со стрелкой 34"/>
            <p:cNvCxnSpPr/>
            <p:nvPr/>
          </p:nvCxnSpPr>
          <p:spPr bwMode="auto">
            <a:xfrm>
              <a:off x="5800740" y="1988840"/>
              <a:ext cx="0" cy="695280"/>
            </a:xfrm>
            <a:prstGeom prst="straightConnector1">
              <a:avLst/>
            </a:prstGeom>
            <a:ln>
              <a:tailEnd type="arrow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6" name="Поле 30"/>
            <p:cNvSpPr txBox="1"/>
            <p:nvPr/>
          </p:nvSpPr>
          <p:spPr bwMode="auto">
            <a:xfrm>
              <a:off x="4885298" y="2189376"/>
              <a:ext cx="836950" cy="323850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>
              <a:defPPr>
                <a:defRPr lang="ru-RU"/>
              </a:defPPr>
              <a:lvl1pPr algn="r">
                <a:lnSpc>
                  <a:spcPct val="115000"/>
                </a:lnSpc>
                <a:spcAft>
                  <a:spcPts val="1000"/>
                </a:spcAft>
                <a:defRPr sz="1100" b="1">
                  <a:latin typeface="+mj-lt"/>
                  <a:ea typeface="Calibri"/>
                  <a:cs typeface="Times New Roman"/>
                </a:defRPr>
              </a:lvl1pPr>
            </a:lstStyle>
            <a:p>
              <a:pPr algn="ctr"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Кредит</a:t>
              </a:r>
              <a:endParaRPr lang="ru-RU" sz="1600" dirty="0">
                <a:solidFill>
                  <a:srgbClr val="000000"/>
                </a:solidFill>
              </a:endParaRPr>
            </a:p>
          </p:txBody>
        </p:sp>
        <p:cxnSp>
          <p:nvCxnSpPr>
            <p:cNvPr id="37" name="Прямая со стрелкой 36"/>
            <p:cNvCxnSpPr>
              <a:endCxn id="54" idx="4"/>
            </p:cNvCxnSpPr>
            <p:nvPr/>
          </p:nvCxnSpPr>
          <p:spPr bwMode="auto">
            <a:xfrm>
              <a:off x="6227389" y="1974167"/>
              <a:ext cx="0" cy="766678"/>
            </a:xfrm>
            <a:prstGeom prst="straightConnector1">
              <a:avLst/>
            </a:prstGeom>
            <a:ln>
              <a:headEnd type="arrow"/>
              <a:tailEnd type="none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8" name="Поле 30"/>
            <p:cNvSpPr txBox="1"/>
            <p:nvPr/>
          </p:nvSpPr>
          <p:spPr bwMode="auto">
            <a:xfrm>
              <a:off x="6400775" y="1994237"/>
              <a:ext cx="2024184" cy="73501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>
              <a:defPPr>
                <a:defRPr lang="ru-RU"/>
              </a:defPPr>
              <a:lvl1pPr algn="r">
                <a:lnSpc>
                  <a:spcPct val="115000"/>
                </a:lnSpc>
                <a:spcAft>
                  <a:spcPts val="1000"/>
                </a:spcAft>
                <a:defRPr sz="1100" b="1">
                  <a:latin typeface="+mj-lt"/>
                  <a:ea typeface="Calibri"/>
                  <a:cs typeface="Times New Roman"/>
                </a:defRPr>
              </a:lvl1pPr>
            </a:lstStyle>
            <a:p>
              <a:pPr algn="ctr">
                <a:defRPr/>
              </a:pPr>
              <a:r>
                <a:rPr lang="ru-RU" sz="1600" dirty="0" smtClean="0">
                  <a:solidFill>
                    <a:srgbClr val="000000"/>
                  </a:solidFill>
                </a:rPr>
                <a:t>Залог дебиторской </a:t>
              </a:r>
              <a:br>
                <a:rPr lang="ru-RU" sz="1600" dirty="0" smtClean="0">
                  <a:solidFill>
                    <a:srgbClr val="000000"/>
                  </a:solidFill>
                </a:rPr>
              </a:br>
              <a:r>
                <a:rPr lang="ru-RU" sz="1600" dirty="0" smtClean="0">
                  <a:solidFill>
                    <a:srgbClr val="000000"/>
                  </a:solidFill>
                </a:rPr>
                <a:t>задолженности </a:t>
              </a:r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41" name="Поле 30"/>
            <p:cNvSpPr txBox="1"/>
            <p:nvPr/>
          </p:nvSpPr>
          <p:spPr bwMode="auto">
            <a:xfrm>
              <a:off x="2839259" y="2635963"/>
              <a:ext cx="1347357" cy="407973"/>
            </a:xfrm>
            <a:prstGeom prst="rect">
              <a:avLst/>
            </a:prstGeom>
            <a:noFill/>
            <a:ln w="6350">
              <a:noFill/>
            </a:ln>
            <a:effectLst/>
          </p:spPr>
          <p:style>
            <a:lnRef idx="0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ea typeface="Calibri"/>
                  <a:cs typeface="Times New Roman"/>
                </a:rPr>
                <a:t>Экспорт </a:t>
              </a:r>
            </a:p>
            <a:p>
              <a:pPr algn="ctr">
                <a:defRPr/>
              </a:pPr>
              <a:r>
                <a:rPr lang="ru-RU" sz="1600" b="1" dirty="0" smtClean="0">
                  <a:solidFill>
                    <a:srgbClr val="000000"/>
                  </a:solidFill>
                  <a:ea typeface="Calibri"/>
                  <a:cs typeface="Times New Roman"/>
                </a:rPr>
                <a:t>товаров</a:t>
              </a:r>
              <a:endParaRPr lang="ru-RU" sz="1600" b="1" dirty="0">
                <a:solidFill>
                  <a:srgbClr val="000000"/>
                </a:solidFill>
                <a:ea typeface="Calibri"/>
                <a:cs typeface="Times New Roman"/>
              </a:endParaRPr>
            </a:p>
          </p:txBody>
        </p:sp>
        <p:sp>
          <p:nvSpPr>
            <p:cNvPr id="52" name="Овал 51"/>
            <p:cNvSpPr/>
            <p:nvPr/>
          </p:nvSpPr>
          <p:spPr bwMode="auto">
            <a:xfrm>
              <a:off x="2725058" y="1342030"/>
              <a:ext cx="432048" cy="346234"/>
            </a:xfrm>
            <a:prstGeom prst="ellipse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1600" b="1" dirty="0">
                  <a:solidFill>
                    <a:prstClr val="white"/>
                  </a:solidFill>
                </a:rPr>
                <a:t>1</a:t>
              </a:r>
            </a:p>
          </p:txBody>
        </p:sp>
        <p:sp>
          <p:nvSpPr>
            <p:cNvPr id="53" name="Овал 52"/>
            <p:cNvSpPr/>
            <p:nvPr/>
          </p:nvSpPr>
          <p:spPr bwMode="auto">
            <a:xfrm>
              <a:off x="5584716" y="1923554"/>
              <a:ext cx="432048" cy="346234"/>
            </a:xfrm>
            <a:prstGeom prst="ellipse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1600" b="1" dirty="0">
                  <a:solidFill>
                    <a:prstClr val="white"/>
                  </a:solidFill>
                </a:rPr>
                <a:t>2</a:t>
              </a:r>
            </a:p>
          </p:txBody>
        </p:sp>
        <p:sp>
          <p:nvSpPr>
            <p:cNvPr id="54" name="Овал 53"/>
            <p:cNvSpPr/>
            <p:nvPr/>
          </p:nvSpPr>
          <p:spPr bwMode="auto">
            <a:xfrm>
              <a:off x="6011365" y="2394610"/>
              <a:ext cx="432048" cy="346234"/>
            </a:xfrm>
            <a:prstGeom prst="ellipse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1600" b="1" dirty="0">
                  <a:solidFill>
                    <a:prstClr val="white"/>
                  </a:solidFill>
                </a:rPr>
                <a:t>3</a:t>
              </a:r>
            </a:p>
          </p:txBody>
        </p:sp>
        <p:sp>
          <p:nvSpPr>
            <p:cNvPr id="55" name="Овал 54"/>
            <p:cNvSpPr/>
            <p:nvPr/>
          </p:nvSpPr>
          <p:spPr bwMode="auto">
            <a:xfrm>
              <a:off x="5106911" y="2897248"/>
              <a:ext cx="432048" cy="346234"/>
            </a:xfrm>
            <a:prstGeom prst="ellipse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1600" b="1" dirty="0">
                  <a:solidFill>
                    <a:prstClr val="white"/>
                  </a:solidFill>
                </a:rPr>
                <a:t>4</a:t>
              </a:r>
            </a:p>
          </p:txBody>
        </p:sp>
      </p:grp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0112" y="1068766"/>
            <a:ext cx="2891589" cy="349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8" name="Picture 4" descr="https://encrypted-tbn3.gstatic.com/images?q=tbn:ANd9GcT07mcB7hXRCnXrX_cfx1aPPn_SR6JO8qAty_N2j3BR3Y_gfe5s">
            <a:hlinkClick r:id="rId5"/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079847" y="2282113"/>
            <a:ext cx="730816" cy="731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3156687" y="3284984"/>
            <a:ext cx="206338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altLang="ru-RU" sz="1600" b="1" dirty="0">
                <a:solidFill>
                  <a:srgbClr val="000000"/>
                </a:solidFill>
                <a:ea typeface="Calibri"/>
                <a:cs typeface="Times New Roman"/>
              </a:rPr>
              <a:t>Оплата товаров</a:t>
            </a:r>
            <a:endParaRPr lang="ru-RU" sz="1600" b="1" dirty="0">
              <a:solidFill>
                <a:srgbClr val="000000"/>
              </a:solidFill>
              <a:ea typeface="Calibri"/>
              <a:cs typeface="Times New Roman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2748780" y="3140968"/>
            <a:ext cx="2742383" cy="346234"/>
            <a:chOff x="2748780" y="3255883"/>
            <a:chExt cx="2742383" cy="346234"/>
          </a:xfrm>
        </p:grpSpPr>
        <p:cxnSp>
          <p:nvCxnSpPr>
            <p:cNvPr id="33" name="Прямая со стрелкой 32"/>
            <p:cNvCxnSpPr/>
            <p:nvPr/>
          </p:nvCxnSpPr>
          <p:spPr bwMode="auto">
            <a:xfrm>
              <a:off x="2813993" y="3429000"/>
              <a:ext cx="2677170" cy="17284"/>
            </a:xfrm>
            <a:prstGeom prst="straightConnector1">
              <a:avLst/>
            </a:prstGeom>
            <a:ln>
              <a:tailEnd type="arrow"/>
            </a:ln>
            <a:extLst/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34" name="Овал 33"/>
            <p:cNvSpPr/>
            <p:nvPr/>
          </p:nvSpPr>
          <p:spPr bwMode="auto">
            <a:xfrm>
              <a:off x="2748780" y="3255883"/>
              <a:ext cx="432048" cy="346234"/>
            </a:xfrm>
            <a:prstGeom prst="ellipse">
              <a:avLst/>
            </a:prstGeom>
            <a:blipFill dpi="0" rotWithShape="0">
              <a:blip r:embed="rId3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 typeface="Arial" charset="0"/>
                <a:buNone/>
              </a:pPr>
              <a:r>
                <a:rPr lang="ru-RU" sz="1600" b="1" dirty="0" smtClean="0">
                  <a:solidFill>
                    <a:prstClr val="white"/>
                  </a:solidFill>
                </a:rPr>
                <a:t>5</a:t>
              </a:r>
              <a:endParaRPr lang="ru-RU" sz="1600" b="1" dirty="0">
                <a:solidFill>
                  <a:prstClr val="white"/>
                </a:solidFill>
              </a:endParaRPr>
            </a:p>
          </p:txBody>
        </p:sp>
      </p:grp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87662247"/>
              </p:ext>
            </p:extLst>
          </p:nvPr>
        </p:nvGraphicFramePr>
        <p:xfrm>
          <a:off x="766117" y="4293096"/>
          <a:ext cx="7838133" cy="1759630"/>
        </p:xfrm>
        <a:graphic>
          <a:graphicData uri="http://schemas.openxmlformats.org/drawingml/2006/table">
            <a:tbl>
              <a:tblPr firstRow="1" bandRow="1">
                <a:tableStyleId>{8A107856-5554-42FB-B03E-39F5DBC370BA}</a:tableStyleId>
              </a:tblPr>
              <a:tblGrid>
                <a:gridCol w="7838133"/>
              </a:tblGrid>
              <a:tr h="175963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ru-RU" sz="1800" b="0" kern="1200" baseline="0" dirty="0" smtClean="0">
                        <a:solidFill>
                          <a:schemeClr val="dk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1432" marR="91432" marT="45735" marB="45735"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3006709" y="3861048"/>
            <a:ext cx="351891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b="1" dirty="0"/>
              <a:t>УСЛОВИЯ СТРАХОВАНИЯ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74700" y="4172770"/>
            <a:ext cx="7829549" cy="19205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dirty="0" smtClean="0">
                <a:solidFill>
                  <a:schemeClr val="dk1"/>
                </a:solidFill>
              </a:rPr>
              <a:t>Застрахованная </a:t>
            </a:r>
            <a:r>
              <a:rPr lang="ru-RU" dirty="0">
                <a:solidFill>
                  <a:schemeClr val="dk1"/>
                </a:solidFill>
              </a:rPr>
              <a:t>доля</a:t>
            </a:r>
            <a:r>
              <a:rPr lang="en-US" dirty="0">
                <a:solidFill>
                  <a:schemeClr val="dk1"/>
                </a:solidFill>
              </a:rPr>
              <a:t>: </a:t>
            </a:r>
            <a:r>
              <a:rPr lang="ru-RU" b="1" dirty="0">
                <a:solidFill>
                  <a:schemeClr val="dk1"/>
                </a:solidFill>
              </a:rPr>
              <a:t>7</a:t>
            </a:r>
            <a:r>
              <a:rPr lang="en-US" b="1" dirty="0">
                <a:solidFill>
                  <a:schemeClr val="dk1"/>
                </a:solidFill>
              </a:rPr>
              <a:t>0%</a:t>
            </a:r>
            <a:r>
              <a:rPr lang="ru-RU" dirty="0">
                <a:solidFill>
                  <a:schemeClr val="dk1"/>
                </a:solidFill>
              </a:rPr>
              <a:t> суммы </a:t>
            </a:r>
            <a:r>
              <a:rPr lang="ru-RU" dirty="0" smtClean="0">
                <a:solidFill>
                  <a:schemeClr val="dk1"/>
                </a:solidFill>
              </a:rPr>
              <a:t>кредита</a:t>
            </a: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dirty="0" smtClean="0">
                <a:solidFill>
                  <a:schemeClr val="dk1"/>
                </a:solidFill>
              </a:rPr>
              <a:t>Срок </a:t>
            </a:r>
            <a:r>
              <a:rPr lang="ru-RU" dirty="0">
                <a:solidFill>
                  <a:schemeClr val="dk1"/>
                </a:solidFill>
              </a:rPr>
              <a:t>страхования соответствует сроку </a:t>
            </a:r>
            <a:r>
              <a:rPr lang="ru-RU" dirty="0" smtClean="0">
                <a:solidFill>
                  <a:schemeClr val="dk1"/>
                </a:solidFill>
              </a:rPr>
              <a:t>финансирования</a:t>
            </a: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dirty="0" smtClean="0">
                <a:solidFill>
                  <a:schemeClr val="dk1"/>
                </a:solidFill>
              </a:rPr>
              <a:t>Период </a:t>
            </a:r>
            <a:r>
              <a:rPr lang="ru-RU" dirty="0">
                <a:solidFill>
                  <a:schemeClr val="dk1"/>
                </a:solidFill>
              </a:rPr>
              <a:t>ожидания: </a:t>
            </a:r>
            <a:r>
              <a:rPr lang="ru-RU" b="1" dirty="0">
                <a:solidFill>
                  <a:schemeClr val="dk1"/>
                </a:solidFill>
              </a:rPr>
              <a:t>60</a:t>
            </a:r>
            <a:r>
              <a:rPr lang="ru-RU" dirty="0">
                <a:solidFill>
                  <a:schemeClr val="dk1"/>
                </a:solidFill>
              </a:rPr>
              <a:t> </a:t>
            </a:r>
            <a:r>
              <a:rPr lang="ru-RU" dirty="0" smtClean="0">
                <a:solidFill>
                  <a:schemeClr val="dk1"/>
                </a:solidFill>
              </a:rPr>
              <a:t>дней</a:t>
            </a: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dirty="0" smtClean="0">
                <a:solidFill>
                  <a:schemeClr val="dk1"/>
                </a:solidFill>
              </a:rPr>
              <a:t>Единая </a:t>
            </a:r>
            <a:r>
              <a:rPr lang="ru-RU" dirty="0">
                <a:solidFill>
                  <a:schemeClr val="dk1"/>
                </a:solidFill>
              </a:rPr>
              <a:t>ставка страховой премии</a:t>
            </a:r>
            <a:r>
              <a:rPr lang="en-US" dirty="0">
                <a:solidFill>
                  <a:schemeClr val="dk1"/>
                </a:solidFill>
              </a:rPr>
              <a:t>: </a:t>
            </a:r>
            <a:r>
              <a:rPr lang="en-US" b="1" dirty="0">
                <a:solidFill>
                  <a:schemeClr val="dk1"/>
                </a:solidFill>
              </a:rPr>
              <a:t>1,5%</a:t>
            </a:r>
            <a:r>
              <a:rPr lang="en-US" dirty="0">
                <a:solidFill>
                  <a:schemeClr val="dk1"/>
                </a:solidFill>
              </a:rPr>
              <a:t> </a:t>
            </a:r>
            <a:r>
              <a:rPr lang="ru-RU" dirty="0">
                <a:solidFill>
                  <a:schemeClr val="dk1"/>
                </a:solidFill>
              </a:rPr>
              <a:t>годовых от суммы застрахованной задолженности по кредиту</a:t>
            </a:r>
            <a:r>
              <a:rPr lang="en-US" dirty="0">
                <a:solidFill>
                  <a:schemeClr val="dk1"/>
                </a:solidFill>
              </a:rPr>
              <a:t> (</a:t>
            </a:r>
            <a:r>
              <a:rPr lang="ru-RU" dirty="0">
                <a:solidFill>
                  <a:schemeClr val="dk1"/>
                </a:solidFill>
              </a:rPr>
              <a:t>включая начисленные проценты</a:t>
            </a:r>
            <a:r>
              <a:rPr lang="en-US" dirty="0" smtClean="0">
                <a:solidFill>
                  <a:schemeClr val="dk1"/>
                </a:solidFill>
              </a:rPr>
              <a:t>)</a:t>
            </a:r>
            <a:endParaRPr kumimoji="0" lang="ru-RU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sp>
        <p:nvSpPr>
          <p:cNvPr id="20" name="Нижний колонтитул 1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z="800" smtClean="0"/>
              <a:t>МЕХАНИЗМЫ МИНИМИЗАЦИИ РИСКОВ РОССИЙСКИХ БАНКОВ ПРИ ЭКСПОРТНОМ ФИНАНСИРОВАНИИ </a:t>
            </a:r>
            <a:endParaRPr lang="ru-RU" sz="800"/>
          </a:p>
        </p:txBody>
      </p:sp>
    </p:spTree>
    <p:extLst>
      <p:ext uri="{BB962C8B-B14F-4D97-AF65-F5344CB8AC3E}">
        <p14:creationId xmlns:p14="http://schemas.microsoft.com/office/powerpoint/2010/main" val="2926839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35875" cy="346075"/>
          </a:xfrm>
        </p:spPr>
        <p:txBody>
          <a:bodyPr/>
          <a:lstStyle/>
          <a:p>
            <a:r>
              <a:rPr lang="ru-RU" sz="1600" dirty="0"/>
              <a:t>ПРЕДПОЛАГАЕМЫЕ  БАНКИ </a:t>
            </a:r>
            <a:r>
              <a:rPr lang="ru-RU" sz="1600" dirty="0" smtClean="0"/>
              <a:t>– ПАРТНЕРЫ ПО ПРОДУКТУ 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827088" y="5157192"/>
            <a:ext cx="57440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400" b="1" i="1" dirty="0">
                <a:solidFill>
                  <a:srgbClr val="00B050"/>
                </a:solidFill>
                <a:latin typeface="Verdana" pitchFamily="34" charset="0"/>
              </a:rPr>
              <a:t>Подписано соглашение о сотрудничестве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400" b="1" i="1" dirty="0">
                <a:solidFill>
                  <a:srgbClr val="2C5689"/>
                </a:solidFill>
                <a:latin typeface="Verdana" pitchFamily="34" charset="0"/>
              </a:rPr>
              <a:t>Соглашение о сотрудничестве в стадии подписания</a:t>
            </a:r>
          </a:p>
          <a:p>
            <a:pPr fontAlgn="base">
              <a:spcBef>
                <a:spcPct val="5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400" b="1" i="1" dirty="0">
                <a:solidFill>
                  <a:srgbClr val="C00000"/>
                </a:solidFill>
                <a:latin typeface="Verdana" pitchFamily="34" charset="0"/>
              </a:rPr>
              <a:t>Банк в стадии аккредитации</a:t>
            </a:r>
            <a:endParaRPr lang="ru-RU" sz="1400" b="1" i="1" dirty="0">
              <a:solidFill>
                <a:srgbClr val="C7475D"/>
              </a:solidFill>
              <a:latin typeface="Verdana" pitchFamily="34" charset="0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376" y="889740"/>
            <a:ext cx="7820223" cy="4339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648967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РЕЗУЛЬТАТЫ РАБОТЫ АГЕНТСТВА 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790573" y="985251"/>
            <a:ext cx="7816644" cy="646581"/>
            <a:chOff x="3615415" y="908720"/>
            <a:chExt cx="5493089" cy="364802"/>
          </a:xfrm>
        </p:grpSpPr>
        <p:sp>
          <p:nvSpPr>
            <p:cNvPr id="5" name="TextBox 4"/>
            <p:cNvSpPr txBox="1"/>
            <p:nvPr/>
          </p:nvSpPr>
          <p:spPr>
            <a:xfrm>
              <a:off x="3615415" y="908720"/>
              <a:ext cx="1594704" cy="364382"/>
            </a:xfrm>
            <a:prstGeom prst="rect">
              <a:avLst/>
            </a:prstGeom>
            <a:blipFill dpi="0" rotWithShape="0">
              <a:blip r:embed="rId2" cstate="print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0000" tIns="45000" rIns="90000" bIns="45000" anchor="ctr" anchorCtr="1"/>
            <a:lstStyle>
              <a:defPPr>
                <a:defRPr lang="en-GB"/>
              </a:defPPr>
              <a:lvl1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b="1">
                  <a:solidFill>
                    <a:srgbClr val="FFFFFF"/>
                  </a:solidFill>
                  <a:latin typeface="Arial" charset="0"/>
                </a:defRPr>
              </a:lvl1pPr>
              <a:lvl2pPr marL="7429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r>
                <a:rPr lang="ru-RU" sz="1600" dirty="0" smtClean="0">
                  <a:latin typeface="Verdana"/>
                </a:rPr>
                <a:t>162 </a:t>
              </a:r>
              <a:r>
                <a:rPr lang="ru-RU" sz="1600" dirty="0">
                  <a:latin typeface="Verdana"/>
                </a:rPr>
                <a:t>МЛРД. РУБ</a:t>
              </a:r>
              <a:r>
                <a:rPr lang="ru-RU" sz="1600" dirty="0" smtClean="0">
                  <a:latin typeface="Verdana"/>
                </a:rPr>
                <a:t>.*</a:t>
              </a:r>
              <a:endParaRPr lang="ru-RU" sz="1600" baseline="30000" dirty="0">
                <a:latin typeface="Verdana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5210119" y="908720"/>
              <a:ext cx="3898385" cy="364802"/>
            </a:xfrm>
            <a:prstGeom prst="rect">
              <a:avLst/>
            </a:prstGeom>
            <a:solidFill>
              <a:srgbClr val="2C5689"/>
            </a:solidFill>
            <a:ln>
              <a:noFill/>
            </a:ln>
            <a:extLst/>
          </p:spPr>
          <p:txBody>
            <a:bodyPr lIns="90000" tIns="45000" rIns="90000" bIns="45000" anchor="ctr" anchorCtr="1"/>
            <a:lstStyle>
              <a:defPPr>
                <a:defRPr lang="en-GB"/>
              </a:defPPr>
              <a:lvl1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b="1">
                  <a:solidFill>
                    <a:srgbClr val="FFFFFF"/>
                  </a:solidFill>
                  <a:latin typeface="Arial" charset="0"/>
                </a:defRPr>
              </a:lvl1pPr>
              <a:lvl2pPr marL="7429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pPr>
                <a:spcBef>
                  <a:spcPct val="50000"/>
                </a:spcBef>
              </a:pPr>
              <a:r>
                <a:rPr lang="ru-RU" sz="1600" dirty="0" smtClean="0">
                  <a:latin typeface="Verdana"/>
                </a:rPr>
                <a:t>ОБЩАЯ СТОИМОСТЬ ПОДДЕРЖАННОГО ЭКСПОРТА*</a:t>
              </a:r>
              <a:endParaRPr lang="ru-RU" sz="1600" dirty="0">
                <a:latin typeface="Verdana"/>
              </a:endParaRPr>
            </a:p>
          </p:txBody>
        </p:sp>
      </p:grpSp>
      <p:sp>
        <p:nvSpPr>
          <p:cNvPr id="7" name="Прямоугольник 6"/>
          <p:cNvSpPr/>
          <p:nvPr/>
        </p:nvSpPr>
        <p:spPr>
          <a:xfrm>
            <a:off x="755651" y="1775848"/>
            <a:ext cx="785156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Aft>
                <a:spcPct val="0"/>
              </a:spcAft>
              <a:buFont typeface="Arial" charset="0"/>
              <a:buNone/>
            </a:pPr>
            <a:r>
              <a:rPr lang="ru-RU" b="1" dirty="0" smtClean="0">
                <a:solidFill>
                  <a:srgbClr val="2A578F"/>
                </a:solidFill>
                <a:latin typeface="Verdana"/>
              </a:rPr>
              <a:t>-</a:t>
            </a:r>
            <a:r>
              <a:rPr lang="en-US" b="1" dirty="0" smtClean="0">
                <a:solidFill>
                  <a:srgbClr val="2A578F"/>
                </a:solidFill>
                <a:latin typeface="Verdana"/>
              </a:rPr>
              <a:t> </a:t>
            </a:r>
            <a:r>
              <a:rPr lang="ru-RU" b="1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50 </a:t>
            </a:r>
            <a:r>
              <a:rPr lang="ru-RU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Стран поставки</a:t>
            </a:r>
          </a:p>
          <a:p>
            <a:pPr fontAlgn="base">
              <a:spcAft>
                <a:spcPct val="0"/>
              </a:spcAft>
              <a:buFont typeface="Arial" charset="0"/>
              <a:buNone/>
            </a:pPr>
            <a:r>
              <a:rPr lang="ru-RU" b="1" dirty="0">
                <a:solidFill>
                  <a:srgbClr val="2A578F"/>
                </a:solidFill>
                <a:latin typeface="Verdana"/>
              </a:rPr>
              <a:t>-</a:t>
            </a:r>
            <a:r>
              <a:rPr lang="en-US" b="1" dirty="0" smtClean="0">
                <a:solidFill>
                  <a:srgbClr val="2A578F"/>
                </a:solidFill>
                <a:latin typeface="Verdana"/>
              </a:rPr>
              <a:t> </a:t>
            </a:r>
            <a:r>
              <a:rPr lang="ru-RU" b="1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80</a:t>
            </a:r>
            <a:r>
              <a:rPr lang="en-US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ru-RU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Компаний-экспортеров</a:t>
            </a:r>
            <a:endParaRPr lang="ru-RU" dirty="0">
              <a:solidFill>
                <a:srgbClr val="2A578F"/>
              </a:solidFill>
              <a:latin typeface="Verdana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fontAlgn="base">
              <a:spcAft>
                <a:spcPct val="0"/>
              </a:spcAft>
              <a:buFont typeface="Arial" charset="0"/>
              <a:buNone/>
            </a:pPr>
            <a:r>
              <a:rPr lang="ru-RU" b="1" dirty="0" smtClean="0">
                <a:solidFill>
                  <a:srgbClr val="2A578F"/>
                </a:solidFill>
                <a:latin typeface="Verdana"/>
              </a:rPr>
              <a:t>- </a:t>
            </a:r>
            <a:r>
              <a:rPr lang="ru-RU" b="1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12</a:t>
            </a:r>
            <a:r>
              <a:rPr lang="ru-RU" dirty="0" smtClean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 Компаний-экспортеров </a:t>
            </a:r>
            <a:r>
              <a:rPr lang="ru-RU" dirty="0">
                <a:solidFill>
                  <a:srgbClr val="2A578F"/>
                </a:solidFill>
                <a:latin typeface="Verdana"/>
                <a:ea typeface="Verdana" panose="020B0604030504040204" pitchFamily="34" charset="0"/>
                <a:cs typeface="Verdana" panose="020B0604030504040204" pitchFamily="34" charset="0"/>
              </a:rPr>
              <a:t>МСП</a:t>
            </a: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123277" y="2994281"/>
            <a:ext cx="6817323" cy="3957393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just" eaLnBrk="1" hangingPunct="1">
              <a:spcBef>
                <a:spcPts val="0"/>
              </a:spcBef>
              <a:buClr>
                <a:srgbClr val="2C5689"/>
              </a:buClr>
              <a:buFontTx/>
              <a:buNone/>
              <a:defRPr/>
            </a:pPr>
            <a:r>
              <a:rPr lang="ru-RU" sz="1300" b="1" kern="0" smtClean="0">
                <a:solidFill>
                  <a:srgbClr val="C7475D"/>
                </a:solidFill>
              </a:rPr>
              <a:t> </a:t>
            </a:r>
            <a:endParaRPr lang="ru-RU" sz="1300" b="1" kern="0" dirty="0">
              <a:solidFill>
                <a:srgbClr val="C7475D"/>
              </a:solidFill>
            </a:endParaRPr>
          </a:p>
        </p:txBody>
      </p:sp>
      <p:pic>
        <p:nvPicPr>
          <p:cNvPr id="11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747" y="2699178"/>
            <a:ext cx="1786406" cy="5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97235" y="2743009"/>
            <a:ext cx="1861961" cy="566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5288" y="2754696"/>
            <a:ext cx="946076" cy="962970"/>
          </a:xfrm>
          <a:prstGeom prst="rect">
            <a:avLst/>
          </a:prstGeom>
        </p:spPr>
      </p:pic>
      <p:pic>
        <p:nvPicPr>
          <p:cNvPr id="14" name="Picture 5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2634" y="3538663"/>
            <a:ext cx="1278006" cy="35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" descr="http://www.aviahelpgroup.ru/bitrix/templates/aviahelpcont/img/log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1825" y="4571626"/>
            <a:ext cx="1376299" cy="610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0630" y="2699178"/>
            <a:ext cx="893954" cy="744962"/>
          </a:xfrm>
          <a:prstGeom prst="rect">
            <a:avLst/>
          </a:prstGeom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8783" y="5231917"/>
            <a:ext cx="1533065" cy="610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41" y="4043055"/>
            <a:ext cx="1501418" cy="404876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2342" y="2742168"/>
            <a:ext cx="1409811" cy="600350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2241" y="4610396"/>
            <a:ext cx="1597099" cy="33100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5560" y="4133260"/>
            <a:ext cx="1842331" cy="364818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2815" y="3904752"/>
            <a:ext cx="1501418" cy="851250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6181" y="4687809"/>
            <a:ext cx="1626536" cy="473747"/>
          </a:xfrm>
          <a:prstGeom prst="rect">
            <a:avLst/>
          </a:prstGeom>
        </p:spPr>
      </p:pic>
      <p:pic>
        <p:nvPicPr>
          <p:cNvPr id="28" name="Picture 14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9719" y="4577827"/>
            <a:ext cx="1067251" cy="6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 descr="http://img.findtm.ru/img/tz_registered_img/31/318319.jp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8486" y="4094670"/>
            <a:ext cx="1513362" cy="4419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6" descr="http://www.eprussia.ru/com/logo/logo_3365.gif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8412" y="5464470"/>
            <a:ext cx="1915372" cy="375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2"/>
          <p:cNvPicPr>
            <a:picLocks noChangeAspect="1" noChangeArrowheads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2" t="21402" r="12762" b="21402"/>
          <a:stretch/>
        </p:blipFill>
        <p:spPr bwMode="auto">
          <a:xfrm>
            <a:off x="4056970" y="4687132"/>
            <a:ext cx="1324346" cy="508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5" name="Picture 140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3309749"/>
            <a:ext cx="1281653" cy="684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6" name="Picture 143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29118" y="3309749"/>
            <a:ext cx="1427473" cy="595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3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71" t="6666" r="35926" b="85813"/>
          <a:stretch/>
        </p:blipFill>
        <p:spPr bwMode="auto">
          <a:xfrm>
            <a:off x="2857680" y="5441454"/>
            <a:ext cx="1610853" cy="3984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Прямоугольник 37"/>
          <p:cNvSpPr/>
          <p:nvPr/>
        </p:nvSpPr>
        <p:spPr>
          <a:xfrm>
            <a:off x="783327" y="5844293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Font typeface="Arial" charset="0"/>
              <a:buNone/>
            </a:pPr>
            <a:r>
              <a:rPr lang="ru-RU" sz="1100" i="1" dirty="0">
                <a:latin typeface="Verdana" pitchFamily="34" charset="0"/>
              </a:rPr>
              <a:t>*Данные по состоянию на </a:t>
            </a:r>
            <a:r>
              <a:rPr lang="ru-RU" sz="1100" i="1" dirty="0" smtClean="0">
                <a:latin typeface="Verdana" pitchFamily="34" charset="0"/>
              </a:rPr>
              <a:t>30.06.2014 </a:t>
            </a:r>
            <a:r>
              <a:rPr lang="ru-RU" sz="1100" i="1" dirty="0">
                <a:latin typeface="Verdana" pitchFamily="34" charset="0"/>
              </a:rPr>
              <a:t>г.</a:t>
            </a: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40607" y="4984141"/>
            <a:ext cx="1016124" cy="845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Нижний колонтитул 7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36964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36073" cy="346075"/>
          </a:xfrm>
        </p:spPr>
        <p:txBody>
          <a:bodyPr/>
          <a:lstStyle/>
          <a:p>
            <a:r>
              <a:rPr lang="ru-RU" sz="1600" dirty="0" smtClean="0"/>
              <a:t>МОДЕЛЬ ЕДИНОГО ЦЕНТРА КРЕДИТНО-СТРАХОВОЙ ПОДДЕРЖКИ</a:t>
            </a:r>
            <a:endParaRPr lang="ru-RU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811398" y="1484784"/>
            <a:ext cx="78301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Подход объединения кредитных и страховых компетенций по поддержке экспорта использовался в Республике Корея, Турции, Чехии, Словакии, Канаде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7" name="Picture 2" descr="L:\12 УВК\Общий каталог\Фирменный стиль\Logos\for_WEB\PNG_for_WEB\EXIAR_Logo_RUS_descriptor_H_for_WEB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3127458"/>
            <a:ext cx="3312368" cy="15256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 descr="http://www.euroinfocenter.ru/sites/default/files/images/partner/logo/roseksimbank_0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72" b="14846"/>
          <a:stretch/>
        </p:blipFill>
        <p:spPr bwMode="auto">
          <a:xfrm>
            <a:off x="1907704" y="4797152"/>
            <a:ext cx="2592288" cy="850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 bwMode="auto">
          <a:xfrm>
            <a:off x="906106" y="3068960"/>
            <a:ext cx="3697467" cy="2952328"/>
          </a:xfrm>
          <a:prstGeom prst="rect">
            <a:avLst/>
          </a:prstGeom>
          <a:noFill/>
          <a:ln w="9525" cap="flat" cmpd="sng" algn="ctr">
            <a:solidFill>
              <a:srgbClr val="2C5689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50000"/>
              </a:spcBef>
              <a:spcAft>
                <a:spcPct val="0"/>
              </a:spcAft>
              <a:buFont typeface="Arial" charset="0"/>
              <a:buNone/>
            </a:pPr>
            <a:endParaRPr lang="ru-RU" sz="1200" smtClean="0">
              <a:solidFill>
                <a:srgbClr val="C7475D"/>
              </a:solidFill>
              <a:latin typeface="Verdana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899592" y="2348880"/>
            <a:ext cx="3708744" cy="646331"/>
          </a:xfrm>
          <a:prstGeom prst="rect">
            <a:avLst/>
          </a:prstGeom>
          <a:solidFill>
            <a:srgbClr val="2C5689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FFFFFF"/>
                </a:solidFill>
                <a:latin typeface="Verdana"/>
              </a:rPr>
              <a:t>ЦЕНТР </a:t>
            </a:r>
            <a:r>
              <a:rPr lang="ru-RU" b="1" dirty="0">
                <a:solidFill>
                  <a:srgbClr val="FFFFFF"/>
                </a:solidFill>
                <a:latin typeface="Verdana"/>
              </a:rPr>
              <a:t>КРЕДИТНО-СТРАХОВОЙ ПОДДЕРЖКИ </a:t>
            </a:r>
          </a:p>
        </p:txBody>
      </p:sp>
      <p:pic>
        <p:nvPicPr>
          <p:cNvPr id="11269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88" b="10761"/>
          <a:stretch/>
        </p:blipFill>
        <p:spPr bwMode="auto">
          <a:xfrm>
            <a:off x="4712746" y="2276872"/>
            <a:ext cx="616846" cy="5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extBox 26"/>
          <p:cNvSpPr txBox="1"/>
          <p:nvPr/>
        </p:nvSpPr>
        <p:spPr>
          <a:xfrm>
            <a:off x="5329591" y="2132856"/>
            <a:ext cx="33433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Единая операционная модель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32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88" b="10761"/>
          <a:stretch/>
        </p:blipFill>
        <p:spPr bwMode="auto">
          <a:xfrm>
            <a:off x="4712746" y="2913695"/>
            <a:ext cx="616846" cy="5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/>
          <p:cNvSpPr txBox="1"/>
          <p:nvPr/>
        </p:nvSpPr>
        <p:spPr>
          <a:xfrm>
            <a:off x="5329591" y="2748573"/>
            <a:ext cx="3343397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Единые стандарты деятельности и процедуры принятия решения, единая нормативная база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34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88" b="10761"/>
          <a:stretch/>
        </p:blipFill>
        <p:spPr bwMode="auto">
          <a:xfrm>
            <a:off x="4750034" y="4005064"/>
            <a:ext cx="616846" cy="5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" name="TextBox 34"/>
          <p:cNvSpPr txBox="1"/>
          <p:nvPr/>
        </p:nvSpPr>
        <p:spPr>
          <a:xfrm>
            <a:off x="5366879" y="3858620"/>
            <a:ext cx="33061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Единая система управления рисками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36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88" b="10761"/>
          <a:stretch/>
        </p:blipFill>
        <p:spPr bwMode="auto">
          <a:xfrm>
            <a:off x="4785352" y="4797152"/>
            <a:ext cx="616846" cy="5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5357216" y="4620781"/>
            <a:ext cx="330610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Максимальная адаптивность, оперативность принятия решений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pic>
        <p:nvPicPr>
          <p:cNvPr id="38" name="Picture 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088" b="10761"/>
          <a:stretch/>
        </p:blipFill>
        <p:spPr bwMode="auto">
          <a:xfrm>
            <a:off x="4788679" y="5515817"/>
            <a:ext cx="616846" cy="5054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9" name="TextBox 38"/>
          <p:cNvSpPr txBox="1"/>
          <p:nvPr/>
        </p:nvSpPr>
        <p:spPr>
          <a:xfrm>
            <a:off x="5352289" y="5476166"/>
            <a:ext cx="330610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>
                <a:solidFill>
                  <a:srgbClr val="000000"/>
                </a:solidFill>
                <a:latin typeface="Verdana"/>
              </a:rPr>
              <a:t>Эффективность использования ресурсов</a:t>
            </a:r>
            <a:endParaRPr lang="ru-RU" sz="1600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17913" y="836712"/>
            <a:ext cx="777174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0000"/>
                </a:solidFill>
                <a:latin typeface="Verdana"/>
              </a:rPr>
              <a:t>Цель Центра -  комплексная финансовая поддержка экспорта</a:t>
            </a:r>
            <a:endParaRPr lang="ru-RU" sz="2000" b="1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58801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title"/>
          </p:nvPr>
        </p:nvSpPr>
        <p:spPr>
          <a:xfrm>
            <a:off x="679450" y="908720"/>
            <a:ext cx="6556375" cy="1872208"/>
          </a:xfrm>
        </p:spPr>
        <p:txBody>
          <a:bodyPr/>
          <a:lstStyle/>
          <a:p>
            <a:pPr eaLnBrk="1" hangingPunct="1">
              <a:defRPr/>
            </a:pPr>
            <a:r>
              <a:rPr lang="ru-RU" sz="4400" dirty="0" smtClean="0">
                <a:solidFill>
                  <a:srgbClr val="2C568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ПАСИБО </a:t>
            </a:r>
            <a:br>
              <a:rPr lang="ru-RU" sz="4400" dirty="0" smtClean="0">
                <a:solidFill>
                  <a:srgbClr val="2C568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4400" dirty="0" smtClean="0">
                <a:solidFill>
                  <a:srgbClr val="2C568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ЗА ВНИМАНИЕ!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3568" y="5445224"/>
            <a:ext cx="3779838" cy="64814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70000"/>
              </a:lnSpc>
              <a:buFontTx/>
              <a:buNone/>
            </a:pPr>
            <a:r>
              <a:rPr lang="ru-RU" altLang="ru-RU" sz="900" dirty="0" smtClean="0">
                <a:latin typeface="Verdana" pitchFamily="34" charset="0"/>
              </a:rPr>
              <a:t>Тел.   +7 (495) 783 11 88</a:t>
            </a:r>
          </a:p>
          <a:p>
            <a:pPr eaLnBrk="1" hangingPunct="1">
              <a:lnSpc>
                <a:spcPct val="70000"/>
              </a:lnSpc>
              <a:buFontTx/>
              <a:buNone/>
            </a:pPr>
            <a:r>
              <a:rPr lang="ru-RU" altLang="ru-RU" sz="900" dirty="0" smtClean="0">
                <a:latin typeface="Verdana" pitchFamily="34" charset="0"/>
              </a:rPr>
              <a:t>Факс: +7 (495) 783 11 22</a:t>
            </a:r>
            <a:endParaRPr lang="en-US" altLang="ru-RU" sz="900" dirty="0" smtClean="0">
              <a:latin typeface="Verdana" pitchFamily="34" charset="0"/>
            </a:endParaRPr>
          </a:p>
          <a:p>
            <a:pPr eaLnBrk="1" hangingPunct="1">
              <a:lnSpc>
                <a:spcPct val="70000"/>
              </a:lnSpc>
              <a:buFontTx/>
              <a:buNone/>
            </a:pPr>
            <a:r>
              <a:rPr lang="en-US" altLang="ru-RU" sz="900" dirty="0" smtClean="0">
                <a:latin typeface="Verdana" pitchFamily="34" charset="0"/>
              </a:rPr>
              <a:t>info</a:t>
            </a:r>
            <a:r>
              <a:rPr lang="ru-RU" altLang="ru-RU" sz="900" dirty="0" smtClean="0">
                <a:latin typeface="Verdana" pitchFamily="34" charset="0"/>
              </a:rPr>
              <a:t>@</a:t>
            </a:r>
            <a:r>
              <a:rPr lang="en-US" altLang="ru-RU" sz="900" dirty="0" smtClean="0">
                <a:latin typeface="Verdana" pitchFamily="34" charset="0"/>
              </a:rPr>
              <a:t>exiar.ru</a:t>
            </a:r>
            <a:endParaRPr lang="ru-RU" altLang="ru-RU" sz="900" dirty="0" smtClean="0">
              <a:latin typeface="Verdana" pitchFamily="34" charset="0"/>
            </a:endParaRPr>
          </a:p>
          <a:p>
            <a:pPr eaLnBrk="1" hangingPunct="1">
              <a:lnSpc>
                <a:spcPct val="70000"/>
              </a:lnSpc>
              <a:buFontTx/>
              <a:buNone/>
            </a:pPr>
            <a:r>
              <a:rPr lang="ru-RU" altLang="ru-RU" sz="900" dirty="0" smtClean="0">
                <a:latin typeface="Verdana" pitchFamily="34" charset="0"/>
              </a:rPr>
              <a:t>www.exiar.ru</a:t>
            </a:r>
          </a:p>
        </p:txBody>
      </p:sp>
      <p:sp>
        <p:nvSpPr>
          <p:cNvPr id="9" name="TextBox 3"/>
          <p:cNvSpPr txBox="1"/>
          <p:nvPr/>
        </p:nvSpPr>
        <p:spPr>
          <a:xfrm>
            <a:off x="777874" y="2636912"/>
            <a:ext cx="7826375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rgbClr val="000000"/>
                </a:solidFill>
                <a:latin typeface="Verdana"/>
              </a:rPr>
              <a:t>Поляков Андрей </a:t>
            </a:r>
            <a:r>
              <a:rPr lang="ru-RU" b="1" dirty="0" smtClean="0">
                <a:solidFill>
                  <a:srgbClr val="000000"/>
                </a:solidFill>
                <a:latin typeface="Verdana"/>
              </a:rPr>
              <a:t>Сергеевич</a:t>
            </a:r>
          </a:p>
          <a:p>
            <a:endParaRPr lang="ru-RU" b="1" dirty="0">
              <a:solidFill>
                <a:srgbClr val="000000"/>
              </a:solidFill>
              <a:latin typeface="Verdana"/>
            </a:endParaRPr>
          </a:p>
          <a:p>
            <a:r>
              <a:rPr lang="ru-RU" b="1" dirty="0">
                <a:solidFill>
                  <a:srgbClr val="000000"/>
                </a:solidFill>
                <a:latin typeface="Verdana"/>
              </a:rPr>
              <a:t>Управляющий директор по региональному развитию и  поддержке МСП</a:t>
            </a:r>
          </a:p>
          <a:p>
            <a:endParaRPr lang="ru-RU" b="1" dirty="0">
              <a:solidFill>
                <a:srgbClr val="000000"/>
              </a:solidFill>
              <a:latin typeface="Verdana"/>
            </a:endParaRPr>
          </a:p>
          <a:p>
            <a:r>
              <a:rPr lang="ru-RU" b="1" dirty="0">
                <a:solidFill>
                  <a:srgbClr val="000000"/>
                </a:solidFill>
                <a:latin typeface="Verdana"/>
              </a:rPr>
              <a:t>Тел.:    +7 (985) 727-50-22</a:t>
            </a:r>
            <a:r>
              <a:rPr lang="en-US" b="1" dirty="0">
                <a:solidFill>
                  <a:srgbClr val="000000"/>
                </a:solidFill>
                <a:latin typeface="Verdana"/>
              </a:rPr>
              <a:t> </a:t>
            </a:r>
          </a:p>
          <a:p>
            <a:r>
              <a:rPr lang="en-US" b="1" dirty="0">
                <a:solidFill>
                  <a:srgbClr val="000000"/>
                </a:solidFill>
                <a:latin typeface="Verdana"/>
              </a:rPr>
              <a:t>E-mail: </a:t>
            </a:r>
            <a:r>
              <a:rPr lang="en-US" b="1" dirty="0">
                <a:solidFill>
                  <a:srgbClr val="2C5689"/>
                </a:solidFill>
                <a:latin typeface="Verdana"/>
              </a:rPr>
              <a:t>polyakov@exiar.ru</a:t>
            </a:r>
            <a:endParaRPr lang="ru-RU" b="1" dirty="0">
              <a:solidFill>
                <a:srgbClr val="2C5689"/>
              </a:solidFill>
              <a:latin typeface="Verdana"/>
            </a:endParaRPr>
          </a:p>
          <a:p>
            <a:endParaRPr lang="en-US" b="1" u="sng" dirty="0" smtClean="0">
              <a:solidFill>
                <a:srgbClr val="000000"/>
              </a:solidFill>
              <a:latin typeface="Verdana"/>
            </a:endParaRPr>
          </a:p>
          <a:p>
            <a:endParaRPr lang="ru-RU" b="1" dirty="0">
              <a:solidFill>
                <a:srgbClr val="000000"/>
              </a:solidFill>
              <a:latin typeface="Verdana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ru-RU" sz="800" dirty="0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1569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492057" cy="346075"/>
          </a:xfrm>
        </p:spPr>
        <p:txBody>
          <a:bodyPr/>
          <a:lstStyle/>
          <a:p>
            <a:r>
              <a:rPr lang="ru-RU" sz="1600" dirty="0"/>
              <a:t>ТЕКУЩИЕ ОСОБЕННОСТИ </a:t>
            </a:r>
            <a:r>
              <a:rPr lang="ru-RU" sz="1600" dirty="0" smtClean="0"/>
              <a:t>РЫНКА КРЕДИТОВАНИЯ</a:t>
            </a:r>
            <a:endParaRPr lang="ru-RU" sz="1600" dirty="0"/>
          </a:p>
        </p:txBody>
      </p:sp>
      <p:sp>
        <p:nvSpPr>
          <p:cNvPr id="11" name="Rectangle 3"/>
          <p:cNvSpPr txBox="1">
            <a:spLocks noChangeArrowheads="1"/>
          </p:cNvSpPr>
          <p:nvPr/>
        </p:nvSpPr>
        <p:spPr bwMode="auto">
          <a:xfrm>
            <a:off x="4139953" y="908720"/>
            <a:ext cx="4392488" cy="2808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61950" indent="-3619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  <a:defRPr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82663" indent="-4413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D3D3D3"/>
              </a:buClr>
              <a:buFont typeface="Arial" charset="0"/>
              <a:buChar char="▬"/>
              <a:defRPr sz="1500">
                <a:solidFill>
                  <a:schemeClr val="tx1"/>
                </a:solidFill>
                <a:latin typeface="+mn-lt"/>
              </a:defRPr>
            </a:lvl2pPr>
            <a:lvl3pPr marL="139065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Arial" charset="0"/>
              </a:defRPr>
            </a:lvl3pPr>
            <a:lvl4pPr marL="179863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Arial" charset="0"/>
              </a:defRPr>
            </a:lvl4pPr>
            <a:lvl5pPr marL="220662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5pPr>
            <a:lvl6pPr marL="266382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6pPr>
            <a:lvl7pPr marL="312102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7pPr>
            <a:lvl8pPr marL="357822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8pPr>
            <a:lvl9pPr marL="4035425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sz="2000" dirty="0">
                <a:latin typeface="+mj-lt"/>
              </a:rPr>
              <a:t>Снижение общего спроса на кредиты из-за опасений нестабильности</a:t>
            </a:r>
          </a:p>
          <a:p>
            <a:r>
              <a:rPr lang="ru-RU" sz="2000" dirty="0" smtClean="0">
                <a:latin typeface="+mj-lt"/>
              </a:rPr>
              <a:t>Усиление межбанковской конкуренции</a:t>
            </a:r>
          </a:p>
          <a:p>
            <a:r>
              <a:rPr lang="ru-RU" sz="2000" dirty="0">
                <a:latin typeface="+mj-lt"/>
              </a:rPr>
              <a:t>Проблемы с фондированием</a:t>
            </a:r>
          </a:p>
          <a:p>
            <a:r>
              <a:rPr lang="ru-RU" sz="2000" dirty="0">
                <a:latin typeface="+mj-lt"/>
              </a:rPr>
              <a:t>Рост просроченной задолженности </a:t>
            </a:r>
          </a:p>
          <a:p>
            <a:endParaRPr lang="ru-RU" sz="2000" dirty="0">
              <a:latin typeface="+mj-lt"/>
            </a:endParaRPr>
          </a:p>
        </p:txBody>
      </p:sp>
      <p:pic>
        <p:nvPicPr>
          <p:cNvPr id="15362" name="Picture 2" descr="http://www.gamebo.ru/images/domino_nachalo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55576" y="1047974"/>
            <a:ext cx="3232625" cy="23090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773112" y="3717032"/>
            <a:ext cx="7831335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sz="2000" dirty="0" smtClean="0">
                <a:latin typeface="+mj-lt"/>
              </a:rPr>
              <a:t>Сложности </a:t>
            </a:r>
            <a:r>
              <a:rPr lang="ru-RU" sz="2000" dirty="0">
                <a:latin typeface="+mj-lt"/>
              </a:rPr>
              <a:t>с обеспечением</a:t>
            </a: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sz="2000" dirty="0">
                <a:latin typeface="+mj-lt"/>
              </a:rPr>
              <a:t>Проблемы с достаточностью </a:t>
            </a:r>
            <a:r>
              <a:rPr lang="ru-RU" sz="2000" dirty="0" smtClean="0">
                <a:latin typeface="+mj-lt"/>
              </a:rPr>
              <a:t>капитала</a:t>
            </a:r>
            <a:endParaRPr lang="ru-RU" sz="2000" dirty="0">
              <a:latin typeface="+mj-lt"/>
            </a:endParaRP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sz="2000" dirty="0" smtClean="0">
                <a:latin typeface="+mj-lt"/>
              </a:rPr>
              <a:t>Необходимость поддержания </a:t>
            </a:r>
            <a:r>
              <a:rPr lang="ru-RU" sz="2000" dirty="0">
                <a:latin typeface="+mj-lt"/>
              </a:rPr>
              <a:t>высокого уровня резервов </a:t>
            </a:r>
            <a:endParaRPr lang="ru-RU" sz="2000" dirty="0" smtClean="0">
              <a:latin typeface="+mj-lt"/>
            </a:endParaRPr>
          </a:p>
          <a:p>
            <a:pPr marL="361950" indent="-36195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2C5689"/>
              </a:buClr>
              <a:buFont typeface="Arial" charset="0"/>
              <a:buChar char="▬"/>
            </a:pPr>
            <a:r>
              <a:rPr lang="ru-RU" sz="2000" dirty="0">
                <a:latin typeface="+mj-lt"/>
              </a:rPr>
              <a:t>Продуктовая конкуренция (переход части заявок из кредитов в лизинг и факторинг</a:t>
            </a:r>
            <a:r>
              <a:rPr lang="ru-RU" sz="2000" dirty="0" smtClean="0">
                <a:latin typeface="+mj-lt"/>
              </a:rPr>
              <a:t>)</a:t>
            </a:r>
            <a:endParaRPr lang="ru-RU" sz="2000" dirty="0">
              <a:latin typeface="+mj-lt"/>
            </a:endParaRPr>
          </a:p>
        </p:txBody>
      </p:sp>
      <p:sp>
        <p:nvSpPr>
          <p:cNvPr id="15" name="Нижний колонтитул 1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/>
              <a:t>МЕХАНИЗМЫ МИНИМИЗАЦИИ РИСКОВ </a:t>
            </a:r>
            <a:r>
              <a:rPr lang="ru-RU" dirty="0" smtClean="0">
                <a:latin typeface="+mj-lt"/>
              </a:rPr>
              <a:t>РОССИЙСКИХ</a:t>
            </a:r>
            <a:r>
              <a:rPr lang="ru-RU" dirty="0" smtClean="0"/>
              <a:t> БАНКОВ ПРИ ЭКСПОРТНОМ ФИНАНСИРОВАНИИ </a:t>
            </a:r>
          </a:p>
        </p:txBody>
      </p:sp>
    </p:spTree>
    <p:extLst>
      <p:ext uri="{BB962C8B-B14F-4D97-AF65-F5344CB8AC3E}">
        <p14:creationId xmlns:p14="http://schemas.microsoft.com/office/powerpoint/2010/main" val="35221216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35875" cy="346075"/>
          </a:xfrm>
        </p:spPr>
        <p:txBody>
          <a:bodyPr/>
          <a:lstStyle/>
          <a:p>
            <a:r>
              <a:rPr lang="ru-RU" sz="1600" dirty="0" smtClean="0"/>
              <a:t>ГОСУДАРСТВЕННАЯ ПОДДЕРЖКА</a:t>
            </a:r>
            <a:endParaRPr lang="ru-RU" sz="160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491880" y="1117193"/>
            <a:ext cx="5112566" cy="1107996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2200" dirty="0" smtClean="0">
                <a:latin typeface="+mj-lt"/>
              </a:rPr>
              <a:t>Общая задолженность  банков перед государством - рекордные 7,1 трлн </a:t>
            </a:r>
            <a:r>
              <a:rPr lang="ru-RU" sz="2200" dirty="0" err="1" smtClean="0">
                <a:latin typeface="+mj-lt"/>
              </a:rPr>
              <a:t>руб</a:t>
            </a:r>
            <a:r>
              <a:rPr lang="ru-RU" sz="2200" dirty="0" smtClean="0">
                <a:latin typeface="+mj-lt"/>
              </a:rPr>
              <a:t>*.</a:t>
            </a:r>
            <a:endParaRPr lang="ru-RU" sz="2200" dirty="0">
              <a:latin typeface="+mj-lt"/>
            </a:endParaRPr>
          </a:p>
        </p:txBody>
      </p:sp>
      <p:grpSp>
        <p:nvGrpSpPr>
          <p:cNvPr id="10" name="Группа 9"/>
          <p:cNvGrpSpPr/>
          <p:nvPr/>
        </p:nvGrpSpPr>
        <p:grpSpPr>
          <a:xfrm>
            <a:off x="789238" y="4725144"/>
            <a:ext cx="7815209" cy="1080120"/>
            <a:chOff x="3936615" y="908719"/>
            <a:chExt cx="5015481" cy="364802"/>
          </a:xfrm>
        </p:grpSpPr>
        <p:sp>
          <p:nvSpPr>
            <p:cNvPr id="11" name="TextBox 10"/>
            <p:cNvSpPr txBox="1"/>
            <p:nvPr/>
          </p:nvSpPr>
          <p:spPr>
            <a:xfrm>
              <a:off x="3936615" y="908720"/>
              <a:ext cx="1225456" cy="364382"/>
            </a:xfrm>
            <a:prstGeom prst="rect">
              <a:avLst/>
            </a:prstGeom>
            <a:blipFill dpi="0" rotWithShape="0">
              <a:blip r:embed="rId2" cstate="print"/>
              <a:srcRect/>
              <a:stretch>
                <a:fillRect/>
              </a:stretch>
            </a:blip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90000" tIns="45000" rIns="90000" bIns="45000" anchor="ctr" anchorCtr="1"/>
            <a:lstStyle>
              <a:defPPr>
                <a:defRPr lang="en-GB"/>
              </a:defPPr>
              <a:lvl1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b="1">
                  <a:solidFill>
                    <a:srgbClr val="FFFFFF"/>
                  </a:solidFill>
                  <a:latin typeface="Arial" charset="0"/>
                </a:defRPr>
              </a:lvl1pPr>
              <a:lvl2pPr marL="7429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r>
                <a:rPr lang="ru-RU" sz="2000" dirty="0" smtClean="0">
                  <a:latin typeface="+mj-lt"/>
                </a:rPr>
                <a:t>300 МЛРД. РУБ.</a:t>
              </a:r>
              <a:endParaRPr lang="ru-RU" sz="2000" dirty="0">
                <a:latin typeface="+mj-lt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072730" y="908719"/>
              <a:ext cx="3879366" cy="364802"/>
            </a:xfrm>
            <a:prstGeom prst="rect">
              <a:avLst/>
            </a:prstGeom>
            <a:solidFill>
              <a:srgbClr val="2C5689"/>
            </a:solidFill>
            <a:ln>
              <a:noFill/>
            </a:ln>
            <a:extLst/>
          </p:spPr>
          <p:txBody>
            <a:bodyPr lIns="90000" tIns="45000" rIns="90000" bIns="45000" anchor="ctr" anchorCtr="1"/>
            <a:lstStyle>
              <a:defPPr>
                <a:defRPr lang="en-GB"/>
              </a:defPPr>
              <a:lvl1pPr algn="ctr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b="1">
                  <a:solidFill>
                    <a:srgbClr val="FFFFFF"/>
                  </a:solidFill>
                  <a:latin typeface="Arial" charset="0"/>
                </a:defRPr>
              </a:lvl1pPr>
              <a:lvl2pPr marL="742950" indent="-28575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2pPr>
              <a:lvl3pPr marL="1143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3pPr>
              <a:lvl4pPr marL="1600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4pPr>
              <a:lvl5pPr marL="20574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itchFamily="18" charset="0"/>
                <a:tabLst>
                  <a:tab pos="0" algn="l"/>
                  <a:tab pos="457200" algn="l"/>
                  <a:tab pos="914400" algn="l"/>
                  <a:tab pos="1371600" algn="l"/>
                  <a:tab pos="1828800" algn="l"/>
                  <a:tab pos="2286000" algn="l"/>
                  <a:tab pos="2743200" algn="l"/>
                  <a:tab pos="3200400" algn="l"/>
                  <a:tab pos="3657600" algn="l"/>
                  <a:tab pos="4114800" algn="l"/>
                  <a:tab pos="4572000" algn="l"/>
                  <a:tab pos="5029200" algn="l"/>
                  <a:tab pos="5486400" algn="l"/>
                  <a:tab pos="5943600" algn="l"/>
                  <a:tab pos="6400800" algn="l"/>
                  <a:tab pos="6858000" algn="l"/>
                  <a:tab pos="7315200" algn="l"/>
                  <a:tab pos="7772400" algn="l"/>
                  <a:tab pos="8229600" algn="l"/>
                  <a:tab pos="8686800" algn="l"/>
                  <a:tab pos="9144000" algn="l"/>
                </a:tabLst>
                <a:defRPr sz="2000">
                  <a:solidFill>
                    <a:schemeClr val="bg1"/>
                  </a:solidFill>
                  <a:latin typeface="Arial" charset="0"/>
                </a:defRPr>
              </a:lvl9pPr>
            </a:lstStyle>
            <a:p>
              <a:r>
                <a:rPr lang="ru-RU" sz="2000" dirty="0" smtClean="0">
                  <a:latin typeface="+mj-lt"/>
                </a:rPr>
                <a:t>СОВОКУПНАЯ СТРАХОВАЯ ЕМКОСТЬ</a:t>
              </a:r>
              <a:r>
                <a:rPr lang="en-US" sz="2000" dirty="0" smtClean="0">
                  <a:latin typeface="+mj-lt"/>
                </a:rPr>
                <a:t>, </a:t>
              </a:r>
              <a:r>
                <a:rPr lang="ru-RU" sz="2000" dirty="0" smtClean="0">
                  <a:latin typeface="+mj-lt"/>
                </a:rPr>
                <a:t>ОБЕСПЕЧЕНАЯ ГОСУДАРСТВЕННОЙ ГАРАНТИЕЙ РФ</a:t>
              </a:r>
              <a:endParaRPr lang="ru-RU" sz="2000" dirty="0">
                <a:latin typeface="+mj-lt"/>
              </a:endParaRPr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3491880" y="2564904"/>
            <a:ext cx="5112567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</a:pPr>
            <a:r>
              <a:rPr lang="ru-RU" sz="2200" b="1" dirty="0" smtClean="0">
                <a:latin typeface="+mj-lt"/>
              </a:rPr>
              <a:t>Цель </a:t>
            </a:r>
            <a:r>
              <a:rPr lang="ru-RU" sz="2200" b="1" dirty="0">
                <a:latin typeface="+mj-lt"/>
              </a:rPr>
              <a:t>деятельности ЭКСАР: </a:t>
            </a:r>
            <a:r>
              <a:rPr lang="ru-RU" sz="2200" dirty="0">
                <a:latin typeface="+mj-lt"/>
              </a:rPr>
              <a:t>предоставление всесторонней поддержки российским экспортерам и </a:t>
            </a:r>
            <a:r>
              <a:rPr lang="ru-RU" sz="2200" dirty="0" smtClean="0">
                <a:latin typeface="+mj-lt"/>
              </a:rPr>
              <a:t>инвесторам, </a:t>
            </a:r>
            <a:r>
              <a:rPr lang="ru-RU" sz="2200" b="1" dirty="0" smtClean="0">
                <a:solidFill>
                  <a:srgbClr val="973545"/>
                </a:solidFill>
                <a:latin typeface="+mj-lt"/>
              </a:rPr>
              <a:t>содействие </a:t>
            </a:r>
            <a:r>
              <a:rPr lang="ru-RU" sz="2200" b="1" dirty="0">
                <a:solidFill>
                  <a:srgbClr val="973545"/>
                </a:solidFill>
                <a:latin typeface="+mj-lt"/>
              </a:rPr>
              <a:t>в организации </a:t>
            </a:r>
            <a:r>
              <a:rPr lang="ru-RU" sz="2200" b="1" dirty="0" smtClean="0">
                <a:solidFill>
                  <a:srgbClr val="973545"/>
                </a:solidFill>
                <a:latin typeface="+mj-lt"/>
              </a:rPr>
              <a:t>финансирования </a:t>
            </a:r>
            <a:r>
              <a:rPr lang="ru-RU" sz="2200" b="1" dirty="0">
                <a:solidFill>
                  <a:srgbClr val="973545"/>
                </a:solidFill>
                <a:latin typeface="+mj-lt"/>
              </a:rPr>
              <a:t>проектов</a:t>
            </a:r>
            <a:endParaRPr lang="en-US" sz="2200" b="1" dirty="0">
              <a:solidFill>
                <a:srgbClr val="973545"/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66778" y="5826718"/>
            <a:ext cx="160653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100" i="1" dirty="0" smtClean="0">
                <a:latin typeface="+mj-lt"/>
              </a:rPr>
              <a:t>*По </a:t>
            </a:r>
            <a:r>
              <a:rPr lang="ru-RU" sz="1100" i="1" dirty="0">
                <a:latin typeface="+mj-lt"/>
              </a:rPr>
              <a:t>данными </a:t>
            </a:r>
            <a:r>
              <a:rPr lang="en-US" sz="1100" i="1" dirty="0">
                <a:latin typeface="+mj-lt"/>
              </a:rPr>
              <a:t>Fitch </a:t>
            </a:r>
            <a:endParaRPr lang="ru-RU" sz="1100" i="1" dirty="0">
              <a:latin typeface="+mj-lt"/>
            </a:endParaRPr>
          </a:p>
        </p:txBody>
      </p:sp>
      <p:pic>
        <p:nvPicPr>
          <p:cNvPr id="14338" name="Picture 2" descr="http://www.forbes.ru/sites/default/files/imagecache/forbes2013_530_313/main/story/TASS_4519766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78" y="1096278"/>
            <a:ext cx="2578822" cy="15229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" descr="L:\12 УВК\Общий каталог\Фирменный стиль\Logos\for_WEB\PNG_for_WEB\EXIAR_Logo_RUS_descriptor_H_for_WEB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626" y="2820873"/>
            <a:ext cx="2570974" cy="11841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Нижний колонтитул 15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58214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/>
              <a:t>ДОСТАТОЧНОСТЬ КАПИТАЛА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97090" y="836712"/>
            <a:ext cx="7807358" cy="1323439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just"/>
            <a:r>
              <a:rPr lang="ru-RU" sz="2000" dirty="0" smtClean="0">
                <a:latin typeface="+mj-lt"/>
              </a:rPr>
              <a:t>Темпы </a:t>
            </a:r>
            <a:r>
              <a:rPr lang="ru-RU" sz="2000" dirty="0">
                <a:latin typeface="+mj-lt"/>
              </a:rPr>
              <a:t>роста капитала банков (16,6</a:t>
            </a:r>
            <a:r>
              <a:rPr lang="ru-RU" sz="2000" dirty="0" smtClean="0">
                <a:latin typeface="+mj-lt"/>
              </a:rPr>
              <a:t>%) отстают от </a:t>
            </a:r>
            <a:r>
              <a:rPr lang="ru-RU" sz="2000" dirty="0">
                <a:latin typeface="+mj-lt"/>
              </a:rPr>
              <a:t>динамики их совокупных активов (18,9%), из-за чего достаточность собственных средств кредитных организаций снизилась за год с 14,7% до 13,7</a:t>
            </a:r>
            <a:r>
              <a:rPr lang="ru-RU" sz="2000" dirty="0" smtClean="0">
                <a:latin typeface="+mj-lt"/>
              </a:rPr>
              <a:t>%* </a:t>
            </a:r>
            <a:endParaRPr lang="ru-RU" sz="2000" dirty="0">
              <a:latin typeface="+mj-lt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768276" y="5764329"/>
            <a:ext cx="77768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 smtClean="0">
                <a:latin typeface="+mj-lt"/>
              </a:rPr>
              <a:t>*</a:t>
            </a:r>
            <a:r>
              <a:rPr lang="ru-RU" sz="1100" i="1" dirty="0">
                <a:latin typeface="+mj-lt"/>
              </a:rPr>
              <a:t> </a:t>
            </a:r>
            <a:r>
              <a:rPr lang="ru-RU" sz="1100" i="1" dirty="0" smtClean="0">
                <a:latin typeface="+mj-lt"/>
              </a:rPr>
              <a:t>Источник: Ассоциация </a:t>
            </a:r>
            <a:r>
              <a:rPr lang="ru-RU" sz="1100" i="1" dirty="0">
                <a:latin typeface="+mj-lt"/>
              </a:rPr>
              <a:t>“Россия”</a:t>
            </a:r>
            <a:endParaRPr lang="ru-RU" sz="1100" i="1" dirty="0"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195026" y="2291388"/>
            <a:ext cx="448143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i="1" dirty="0" smtClean="0">
                <a:solidFill>
                  <a:srgbClr val="973545"/>
                </a:solidFill>
                <a:latin typeface="+mj-lt"/>
              </a:rPr>
              <a:t>Требования по достаточности капитала ограничивают развитие кредитного бизнеса</a:t>
            </a:r>
            <a:endParaRPr lang="ru-RU" sz="2400" b="1" i="1" dirty="0">
              <a:solidFill>
                <a:srgbClr val="973545"/>
              </a:solidFill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55577" y="4451919"/>
            <a:ext cx="784887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i="1" dirty="0" smtClean="0">
                <a:latin typeface="+mj-lt"/>
              </a:rPr>
              <a:t>Договор страхования ЭКСАР позволяет снизить влияние </a:t>
            </a:r>
            <a:r>
              <a:rPr lang="ru-RU" sz="2000" b="1" i="1" dirty="0">
                <a:latin typeface="+mj-lt"/>
              </a:rPr>
              <a:t>на </a:t>
            </a:r>
            <a:r>
              <a:rPr lang="ru-RU" sz="2000" b="1" i="1" dirty="0" smtClean="0">
                <a:latin typeface="+mj-lt"/>
              </a:rPr>
              <a:t>капитал: в </a:t>
            </a:r>
            <a:r>
              <a:rPr lang="ru-RU" sz="2000" b="1" i="1" dirty="0">
                <a:latin typeface="+mj-lt"/>
              </a:rPr>
              <a:t>рублях коэффициент </a:t>
            </a:r>
            <a:r>
              <a:rPr lang="ru-RU" sz="2000" b="1" i="1" dirty="0" smtClean="0">
                <a:latin typeface="+mj-lt"/>
              </a:rPr>
              <a:t>0,2;  </a:t>
            </a:r>
            <a:r>
              <a:rPr lang="ru-RU" sz="2000" b="1" i="1" dirty="0">
                <a:latin typeface="+mj-lt"/>
              </a:rPr>
              <a:t>в валюте - коэффициент </a:t>
            </a:r>
            <a:r>
              <a:rPr lang="ru-RU" sz="2000" b="1" i="1" dirty="0" smtClean="0">
                <a:latin typeface="+mj-lt"/>
              </a:rPr>
              <a:t>0,5 (</a:t>
            </a:r>
            <a:r>
              <a:rPr lang="ru-RU" sz="2000" b="1" dirty="0" smtClean="0">
                <a:latin typeface="+mj-lt"/>
              </a:rPr>
              <a:t>Инструкция </a:t>
            </a:r>
            <a:r>
              <a:rPr lang="ru-RU" sz="2000" b="1" dirty="0">
                <a:latin typeface="+mj-lt"/>
              </a:rPr>
              <a:t>Банка России </a:t>
            </a:r>
            <a:r>
              <a:rPr lang="ru-RU" sz="2000" b="1" dirty="0" smtClean="0">
                <a:latin typeface="+mj-lt"/>
              </a:rPr>
              <a:t>№ 139-И)</a:t>
            </a:r>
            <a:endParaRPr lang="ru-RU" sz="2000" b="1" i="1" dirty="0">
              <a:latin typeface="+mj-lt"/>
            </a:endParaRPr>
          </a:p>
        </p:txBody>
      </p:sp>
      <p:pic>
        <p:nvPicPr>
          <p:cNvPr id="13314" name="Picture 2" descr="Money, Euro, Coin, Coins, Bank Note, Calculator, Budget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156" y="2160151"/>
            <a:ext cx="3342862" cy="2225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Стрелка вправо 10"/>
          <p:cNvSpPr/>
          <p:nvPr/>
        </p:nvSpPr>
        <p:spPr bwMode="auto">
          <a:xfrm rot="5400000">
            <a:off x="6183713" y="3789040"/>
            <a:ext cx="504056" cy="792088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247506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35875" cy="346075"/>
          </a:xfrm>
        </p:spPr>
        <p:txBody>
          <a:bodyPr/>
          <a:lstStyle/>
          <a:p>
            <a:r>
              <a:rPr lang="ru-RU" sz="1600" dirty="0" smtClean="0"/>
              <a:t>ОБЕСПЕЧЕНИЕ</a:t>
            </a:r>
            <a:endParaRPr lang="ru-RU" sz="16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755575" y="4005064"/>
            <a:ext cx="280831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i="1" dirty="0" smtClean="0">
                <a:solidFill>
                  <a:srgbClr val="973545"/>
                </a:solidFill>
                <a:latin typeface="+mj-lt"/>
              </a:rPr>
              <a:t>Заемщик не имеет необходимого  обеспечения по кредиту  </a:t>
            </a:r>
            <a:endParaRPr lang="ru-RU" sz="2000" b="1" i="1" dirty="0">
              <a:solidFill>
                <a:srgbClr val="973545"/>
              </a:solidFill>
              <a:latin typeface="+mj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563890" y="3861048"/>
            <a:ext cx="50403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i="1" dirty="0" smtClean="0">
                <a:latin typeface="+mj-lt"/>
              </a:rPr>
              <a:t>Договор </a:t>
            </a:r>
            <a:r>
              <a:rPr lang="ru-RU" sz="2000" b="1" i="1" dirty="0">
                <a:latin typeface="+mj-lt"/>
              </a:rPr>
              <a:t>страхования </a:t>
            </a:r>
            <a:r>
              <a:rPr lang="ru-RU" sz="2000" b="1" i="1" dirty="0" smtClean="0">
                <a:latin typeface="+mj-lt"/>
              </a:rPr>
              <a:t>ЭКСАР может использоваться в качестве залогового обеспечения 1-й </a:t>
            </a:r>
            <a:r>
              <a:rPr lang="ru-RU" sz="2000" b="1" i="1" dirty="0">
                <a:latin typeface="+mj-lt"/>
              </a:rPr>
              <a:t>категории </a:t>
            </a:r>
            <a:r>
              <a:rPr lang="ru-RU" sz="2000" b="1" i="1" dirty="0" smtClean="0">
                <a:latin typeface="+mj-lt"/>
              </a:rPr>
              <a:t>качества (п. </a:t>
            </a:r>
            <a:r>
              <a:rPr lang="ru-RU" sz="2000" b="1" i="1" dirty="0">
                <a:latin typeface="+mj-lt"/>
              </a:rPr>
              <a:t>6.2.8. Положения Банка России № </a:t>
            </a:r>
            <a:r>
              <a:rPr lang="ru-RU" sz="2000" b="1" i="1" dirty="0" smtClean="0">
                <a:latin typeface="+mj-lt"/>
              </a:rPr>
              <a:t>254-П)</a:t>
            </a:r>
            <a:endParaRPr lang="ru-RU" sz="2000" b="1" i="1" dirty="0">
              <a:latin typeface="+mj-lt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69913" y="5715367"/>
            <a:ext cx="7824812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i="1" dirty="0" smtClean="0">
                <a:latin typeface="+mj-lt"/>
              </a:rPr>
              <a:t>*На основе опроса </a:t>
            </a:r>
            <a:r>
              <a:rPr lang="ru-RU" sz="1100" i="1" dirty="0">
                <a:latin typeface="+mj-lt"/>
              </a:rPr>
              <a:t>97 представителей </a:t>
            </a:r>
            <a:r>
              <a:rPr lang="ru-RU" sz="1100" i="1" dirty="0" smtClean="0">
                <a:latin typeface="+mj-lt"/>
              </a:rPr>
              <a:t>кредитно-финансовых организаций, 406 компаний МС</a:t>
            </a:r>
            <a:r>
              <a:rPr lang="ru-RU" sz="1100" i="1" dirty="0">
                <a:latin typeface="+mj-lt"/>
              </a:rPr>
              <a:t>Б</a:t>
            </a:r>
            <a:r>
              <a:rPr lang="ru-RU" sz="1100" i="1" dirty="0" smtClean="0">
                <a:latin typeface="+mj-lt"/>
              </a:rPr>
              <a:t> </a:t>
            </a:r>
            <a:r>
              <a:rPr lang="ru-RU" sz="1100" i="1" dirty="0">
                <a:latin typeface="+mj-lt"/>
              </a:rPr>
              <a:t>из 20 регионов </a:t>
            </a:r>
            <a:r>
              <a:rPr lang="ru-RU" sz="1100" i="1" dirty="0" smtClean="0">
                <a:latin typeface="+mj-lt"/>
              </a:rPr>
              <a:t>РФ</a:t>
            </a:r>
            <a:r>
              <a:rPr lang="ru-RU" sz="1100" i="1" dirty="0">
                <a:latin typeface="+mj-lt"/>
              </a:rPr>
              <a:t>;</a:t>
            </a:r>
            <a:r>
              <a:rPr lang="ru-RU" sz="1100" i="1" dirty="0" smtClean="0">
                <a:latin typeface="+mj-lt"/>
              </a:rPr>
              <a:t>  2014 год</a:t>
            </a:r>
            <a:endParaRPr lang="ru-RU" sz="1100" i="1" dirty="0">
              <a:latin typeface="+mj-lt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55575" y="836712"/>
            <a:ext cx="7848674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+mj-lt"/>
              </a:rPr>
              <a:t>Барьеры кредитования ВЭД</a:t>
            </a:r>
            <a:r>
              <a:rPr lang="ru-RU" b="1" dirty="0">
                <a:latin typeface="+mj-lt"/>
              </a:rPr>
              <a:t>*</a:t>
            </a:r>
          </a:p>
        </p:txBody>
      </p:sp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28172422"/>
              </p:ext>
            </p:extLst>
          </p:nvPr>
        </p:nvGraphicFramePr>
        <p:xfrm>
          <a:off x="821630" y="1154327"/>
          <a:ext cx="7773095" cy="28975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8" name="Стрелка вправо 17"/>
          <p:cNvSpPr/>
          <p:nvPr/>
        </p:nvSpPr>
        <p:spPr bwMode="auto">
          <a:xfrm>
            <a:off x="3311862" y="4293096"/>
            <a:ext cx="504056" cy="792088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dirty="0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</a:p>
        </p:txBody>
      </p:sp>
    </p:spTree>
    <p:extLst>
      <p:ext uri="{BB962C8B-B14F-4D97-AF65-F5344CB8AC3E}">
        <p14:creationId xmlns:p14="http://schemas.microsoft.com/office/powerpoint/2010/main" val="840964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РЕЗЕРВЫ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4228642" y="979131"/>
            <a:ext cx="4403093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500" b="1" i="1" dirty="0" smtClean="0">
                <a:solidFill>
                  <a:srgbClr val="973545"/>
                </a:solidFill>
                <a:latin typeface="+mj-lt"/>
              </a:rPr>
              <a:t>При кредитовании экспортных операций возникает необходимость создания большого объема</a:t>
            </a:r>
            <a:r>
              <a:rPr lang="en-US" sz="2500" b="1" i="1" dirty="0" smtClean="0">
                <a:solidFill>
                  <a:srgbClr val="973545"/>
                </a:solidFill>
                <a:latin typeface="+mj-lt"/>
              </a:rPr>
              <a:t> </a:t>
            </a:r>
            <a:r>
              <a:rPr lang="ru-RU" sz="2500" b="1" i="1" dirty="0" smtClean="0">
                <a:solidFill>
                  <a:srgbClr val="973545"/>
                </a:solidFill>
                <a:latin typeface="+mj-lt"/>
              </a:rPr>
              <a:t>обязательных резервов</a:t>
            </a:r>
            <a:endParaRPr lang="ru-RU" sz="2500" b="1" i="1" dirty="0">
              <a:solidFill>
                <a:srgbClr val="973545"/>
              </a:solidFill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75792" y="4293096"/>
            <a:ext cx="785594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i="1" dirty="0" smtClean="0">
                <a:latin typeface="+mj-lt"/>
              </a:rPr>
              <a:t>Договор </a:t>
            </a:r>
            <a:r>
              <a:rPr lang="ru-RU" sz="2400" b="1" i="1" dirty="0">
                <a:latin typeface="+mj-lt"/>
              </a:rPr>
              <a:t>страхования ЭКСАР </a:t>
            </a:r>
            <a:r>
              <a:rPr lang="ru-RU" sz="2400" b="1" i="1" dirty="0" smtClean="0">
                <a:latin typeface="+mj-lt"/>
              </a:rPr>
              <a:t> позволяет минимизировать резервы </a:t>
            </a:r>
            <a:r>
              <a:rPr lang="ru-RU" sz="2400" b="1" i="1" dirty="0">
                <a:latin typeface="+mj-lt"/>
              </a:rPr>
              <a:t>т.к. </a:t>
            </a:r>
            <a:r>
              <a:rPr lang="ru-RU" sz="2400" b="1" i="1" dirty="0" smtClean="0">
                <a:latin typeface="+mj-lt"/>
              </a:rPr>
              <a:t>является обеспечением </a:t>
            </a:r>
            <a:r>
              <a:rPr lang="ru-RU" sz="2400" b="1" i="1" dirty="0">
                <a:latin typeface="+mj-lt"/>
              </a:rPr>
              <a:t>1-й категории </a:t>
            </a:r>
            <a:r>
              <a:rPr lang="ru-RU" sz="2400" b="1" i="1" dirty="0" smtClean="0">
                <a:latin typeface="+mj-lt"/>
              </a:rPr>
              <a:t>качества (п. 6.2.8. Положения </a:t>
            </a:r>
            <a:r>
              <a:rPr lang="ru-RU" sz="2400" b="1" i="1" dirty="0">
                <a:latin typeface="+mj-lt"/>
              </a:rPr>
              <a:t>Банка </a:t>
            </a:r>
            <a:r>
              <a:rPr lang="ru-RU" sz="2400" b="1" i="1" dirty="0" smtClean="0">
                <a:latin typeface="+mj-lt"/>
              </a:rPr>
              <a:t>России № 254-П)</a:t>
            </a:r>
            <a:endParaRPr lang="ru-RU" sz="2400" b="1" i="1" dirty="0">
              <a:latin typeface="+mj-lt"/>
            </a:endParaRPr>
          </a:p>
        </p:txBody>
      </p:sp>
      <p:pic>
        <p:nvPicPr>
          <p:cNvPr id="12300" name="Picture 12" descr="http://images.aif.ru/003/564/861eda3dee48bc2c20ba2261fc5f622d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746"/>
          <a:stretch/>
        </p:blipFill>
        <p:spPr bwMode="auto">
          <a:xfrm>
            <a:off x="775792" y="979131"/>
            <a:ext cx="3452850" cy="2893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Стрелка вправо 14"/>
          <p:cNvSpPr/>
          <p:nvPr/>
        </p:nvSpPr>
        <p:spPr bwMode="auto">
          <a:xfrm rot="5400000">
            <a:off x="6162554" y="3563300"/>
            <a:ext cx="535268" cy="924324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395097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РИСКИ</a:t>
            </a:r>
            <a:endParaRPr lang="ru-RU" sz="16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782638" y="817662"/>
            <a:ext cx="7776864" cy="1015663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lvl="0" algn="just"/>
            <a:r>
              <a:rPr lang="ru-RU" sz="2000" dirty="0" smtClean="0">
                <a:latin typeface="+mj-lt"/>
              </a:rPr>
              <a:t>Рост </a:t>
            </a:r>
            <a:r>
              <a:rPr lang="ru-RU" sz="2000" dirty="0">
                <a:latin typeface="+mj-lt"/>
              </a:rPr>
              <a:t>просроченной задолженности (12,3%) по кредитам юридическим </a:t>
            </a:r>
            <a:r>
              <a:rPr lang="ru-RU" sz="2000" dirty="0" smtClean="0">
                <a:latin typeface="+mj-lt"/>
              </a:rPr>
              <a:t>лицам сопоставим </a:t>
            </a:r>
            <a:r>
              <a:rPr lang="ru-RU" sz="2000" dirty="0">
                <a:latin typeface="+mj-lt"/>
              </a:rPr>
              <a:t>с темпом увеличения корпоративного портфеля ссуд (12,7</a:t>
            </a:r>
            <a:r>
              <a:rPr lang="ru-RU" sz="2000" dirty="0" smtClean="0">
                <a:latin typeface="+mj-lt"/>
              </a:rPr>
              <a:t>%)* </a:t>
            </a:r>
            <a:endParaRPr lang="ru-RU" sz="2000" dirty="0"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55976" y="1763291"/>
            <a:ext cx="4203526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200" b="1" i="1" dirty="0">
                <a:solidFill>
                  <a:srgbClr val="AA0202"/>
                </a:solidFill>
                <a:latin typeface="+mj-lt"/>
              </a:rPr>
              <a:t>Есть опасения ненадлежащего исполнения контракта как со стороны заемщика так и со стороны иностранного </a:t>
            </a:r>
            <a:r>
              <a:rPr lang="ru-RU" sz="2200" b="1" i="1" dirty="0" smtClean="0">
                <a:solidFill>
                  <a:srgbClr val="AA0202"/>
                </a:solidFill>
                <a:latin typeface="+mj-lt"/>
              </a:rPr>
              <a:t>контрагента</a:t>
            </a:r>
            <a:endParaRPr lang="ru-RU" sz="2200" b="1" i="1" dirty="0">
              <a:solidFill>
                <a:srgbClr val="AA0202"/>
              </a:solidFill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73113" y="4478650"/>
            <a:ext cx="778638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i="1" dirty="0" smtClean="0">
                <a:latin typeface="+mj-lt"/>
              </a:rPr>
              <a:t>Продукты </a:t>
            </a:r>
            <a:r>
              <a:rPr lang="ru-RU" sz="2000" b="1" i="1" dirty="0">
                <a:latin typeface="+mj-lt"/>
              </a:rPr>
              <a:t>ЭКСАР позволяют покрыть как кредитные риски на компанию-заемщика, так и риски неплатежа со стороны иностранного контрагента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765101" y="5831686"/>
            <a:ext cx="7776864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i="1" dirty="0">
                <a:latin typeface="+mj-lt"/>
              </a:rPr>
              <a:t>* Источник: Ассоциация “Россия”</a:t>
            </a:r>
          </a:p>
        </p:txBody>
      </p:sp>
      <p:pic>
        <p:nvPicPr>
          <p:cNvPr id="14" name="Picture 2" descr="Man, Silhouette, Briefcase, Umbrella, Screen, Business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172" y="1862594"/>
            <a:ext cx="3631762" cy="2502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Стрелка вправо 15"/>
          <p:cNvSpPr/>
          <p:nvPr/>
        </p:nvSpPr>
        <p:spPr bwMode="auto">
          <a:xfrm rot="5400000">
            <a:off x="6268601" y="4029833"/>
            <a:ext cx="378274" cy="670545"/>
          </a:xfrm>
          <a:prstGeom prst="rightArrow">
            <a:avLst/>
          </a:prstGeom>
          <a:solidFill>
            <a:schemeClr val="bg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dirty="0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46920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600" dirty="0" smtClean="0"/>
              <a:t>ПРОДУКТЫ ОАО «ЭКСАР»</a:t>
            </a:r>
            <a:endParaRPr lang="ru-RU" sz="1600" dirty="0"/>
          </a:p>
        </p:txBody>
      </p:sp>
      <p:grpSp>
        <p:nvGrpSpPr>
          <p:cNvPr id="3" name="Группа 2"/>
          <p:cNvGrpSpPr/>
          <p:nvPr/>
        </p:nvGrpSpPr>
        <p:grpSpPr>
          <a:xfrm>
            <a:off x="768349" y="836711"/>
            <a:ext cx="7839076" cy="5043736"/>
            <a:chOff x="768349" y="836711"/>
            <a:chExt cx="7839076" cy="5043736"/>
          </a:xfrm>
        </p:grpSpPr>
        <p:graphicFrame>
          <p:nvGraphicFramePr>
            <p:cNvPr id="6" name="Group 7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43841165"/>
                </p:ext>
              </p:extLst>
            </p:nvPr>
          </p:nvGraphicFramePr>
          <p:xfrm>
            <a:off x="768349" y="836711"/>
            <a:ext cx="7839076" cy="5039112"/>
          </p:xfrm>
          <a:graphic>
            <a:graphicData uri="http://schemas.openxmlformats.org/drawingml/2006/table">
              <a:tbl>
                <a:tblPr/>
                <a:tblGrid>
                  <a:gridCol w="2507507"/>
                  <a:gridCol w="1231744"/>
                  <a:gridCol w="1576568"/>
                  <a:gridCol w="448975"/>
                  <a:gridCol w="2074282"/>
                </a:tblGrid>
                <a:tr h="360041">
                  <a:tc gridSpan="5"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r>
                          <a:rPr kumimoji="0" lang="ru-RU" sz="1400" b="1" i="0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КЛАССИЧЕСКИЕ</a:t>
                        </a:r>
                      </a:p>
                    </a:txBody>
                    <a:tcPr marL="72000" marR="36000" marT="0" marB="0" anchor="ctr" horzOverflow="overflow">
                      <a:lnL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noFill/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2C5689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endPara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</a:tr>
                <a:tr h="434947"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r>
                          <a:rPr kumimoji="0" lang="ru-RU" sz="1400" b="1" i="0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Продукт</a:t>
                        </a: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r>
                          <a:rPr kumimoji="0" lang="ru-RU" sz="1400" b="1" i="0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Риски</a:t>
                        </a: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r>
                          <a:rPr kumimoji="0" lang="ru-RU" sz="1400" b="1" i="0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тель</a:t>
                        </a: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r>
                          <a:rPr kumimoji="0" lang="ru-RU" sz="1400" b="1" i="0" u="none" strike="noStrike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Выгодоприобретатель</a:t>
                        </a: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</a:pPr>
                        <a:endPara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36000" marT="0" marB="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C7475D"/>
                      </a:solidFill>
                    </a:tcPr>
                  </a:tc>
                </a:tr>
                <a:tr h="488520">
                  <a:tc>
                    <a:txBody>
                      <a:bodyPr/>
                      <a:lstStyle/>
                      <a:p>
                        <a:r>
                          <a:rPr lang="ru-RU" sz="1100" b="1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Комплексное страхование экспортных кредитов</a:t>
                        </a: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 rowSpan="5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Риск не исполнения иностранным контрагентом контрактных обязательств</a:t>
                        </a:r>
                      </a:p>
                    </a:txBody>
                    <a:tcPr marL="72000" marR="72000" marT="72000" marB="72000" anchor="ctr" horzOverflow="overflow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</a:t>
                        </a:r>
                        <a:endParaRPr lang="ru-RU" sz="1100" b="0" dirty="0" smtClean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/ 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488520">
                  <a:tc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 кредита поставщика</a:t>
                        </a: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 vMerge="1"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endParaRPr lang="ru-RU" sz="10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</a:t>
                        </a:r>
                        <a:endParaRPr lang="ru-RU" sz="1100" b="0" dirty="0" smtClean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/ 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488520">
                  <a:tc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 кредита покупателю</a:t>
                        </a: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 vMerge="1"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endParaRPr lang="ru-RU" sz="10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algn="ctr"/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algn="ctr"/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659392">
                  <a:tc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 подтвержденного аккредитива</a:t>
                        </a: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 vMerge="1"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endParaRPr lang="ru-RU" sz="10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noFill/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algn="ctr"/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algn="ctr"/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317648">
                  <a:tc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 гарантий</a:t>
                        </a: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 vMerge="1"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endParaRPr lang="ru-RU" sz="1000" b="0" kern="12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algn="ctr"/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Экспортер / Банк</a:t>
                        </a:r>
                        <a:endParaRPr lang="ru-RU" sz="1100" b="0" dirty="0" smtClean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lang="ru-RU" sz="1100" b="0" dirty="0" smtClean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488520">
                  <a:tc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</a:t>
                        </a:r>
                        <a:r>
                          <a:rPr lang="ru-RU" sz="1100" b="1" kern="1200" baseline="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 инвестиций</a:t>
                        </a:r>
                        <a:endParaRPr lang="ru-RU" sz="1100" b="1" kern="1200" dirty="0" smtClean="0">
                          <a:solidFill>
                            <a:schemeClr val="tx1"/>
                          </a:solidFill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>
                          <a:lumMod val="85000"/>
                        </a:schemeClr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Политический</a:t>
                        </a:r>
                        <a:r>
                          <a:rPr lang="ru-RU" sz="1100" b="0" kern="1200" baseline="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 риск</a:t>
                        </a:r>
                        <a:endParaRPr lang="ru-RU" sz="1100" b="0" kern="1200" dirty="0" smtClean="0">
                          <a:solidFill>
                            <a:schemeClr val="dk1"/>
                          </a:solidFill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Инвестор</a:t>
                        </a:r>
                        <a:endParaRPr lang="ru-RU" sz="1100" b="0" kern="1200" dirty="0">
                          <a:solidFill>
                            <a:schemeClr val="dk1"/>
                          </a:solidFill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kern="1200" dirty="0" smtClean="0">
                            <a:solidFill>
                              <a:schemeClr val="dk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Инвестор</a:t>
                        </a: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</a:tr>
                <a:tr h="364250">
                  <a:tc gridSpan="5">
                    <a:txBody>
                      <a:bodyPr/>
                      <a:lstStyle/>
                      <a:p>
                        <a:pPr marL="0" marR="0" lvl="0" indent="0" algn="ctr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kumimoji="0" lang="ru-RU" sz="1400" b="1" i="0" u="none" strike="noStrike" kern="1200" cap="none" normalizeH="0" baseline="0" dirty="0" smtClean="0">
                            <a:ln>
                              <a:noFill/>
                            </a:ln>
                            <a:solidFill>
                              <a:schemeClr val="bg1"/>
                            </a:solidFill>
                            <a:effectLst/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ПЕЦИАЛИЗИРОВАННЫЕ</a:t>
                        </a:r>
                      </a:p>
                    </a:txBody>
                    <a:tcPr marL="72000" marR="72000" marT="72000" marB="72000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rgbClr val="2C568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2C5689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ru-RU" sz="12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Verdana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2C5689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</a:tr>
                <a:tr h="460234">
                  <a:tc gridSpan="2">
                    <a:txBody>
                      <a:bodyPr/>
                      <a:lstStyle/>
                      <a:p>
                        <a:pPr lvl="0" algn="l"/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 экспортного факторинга</a:t>
                        </a:r>
                        <a:endParaRPr lang="ru-RU" sz="1100" b="1" kern="1200" dirty="0">
                          <a:solidFill>
                            <a:schemeClr val="tx1"/>
                          </a:solidFill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2C568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lang="ru-RU" sz="11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381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kern="1200" dirty="0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Банки, </a:t>
                        </a:r>
                        <a:r>
                          <a:rPr lang="ru-RU" sz="1100" kern="1200" dirty="0" err="1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факторинговые</a:t>
                        </a:r>
                        <a:r>
                          <a:rPr lang="ru-RU" sz="1100" kern="1200" dirty="0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 компании</a:t>
                        </a: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2C568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kern="1200" dirty="0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Банки, </a:t>
                        </a:r>
                        <a:r>
                          <a:rPr lang="ru-RU" sz="1100" kern="1200" dirty="0" err="1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факторинговые</a:t>
                        </a:r>
                        <a:r>
                          <a:rPr lang="ru-RU" sz="1100" kern="1200" dirty="0" smtClean="0">
                            <a:solidFill>
                              <a:schemeClr val="tx1"/>
                            </a:solidFill>
                            <a:latin typeface="+mj-lt"/>
                            <a:ea typeface="+mn-ea"/>
                            <a:cs typeface="+mn-cs"/>
                          </a:rPr>
                          <a:t> компании</a:t>
                        </a: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rgbClr val="2C5689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  <a:tr h="488520">
                  <a:tc gridSpan="2">
                    <a:txBody>
                      <a:bodyPr/>
                      <a:lstStyle/>
                      <a:p>
                        <a:pPr marL="0" marR="0" lvl="0" indent="0" algn="l" defTabSz="914400" rtl="0" eaLnBrk="1" fontAlgn="base" latinLnBrk="0" hangingPunct="1">
                          <a:lnSpc>
                            <a:spcPct val="100000"/>
                          </a:lnSpc>
                          <a:spcBef>
                            <a:spcPct val="20000"/>
                          </a:spcBef>
                          <a:spcAft>
                            <a:spcPct val="0"/>
                          </a:spcAft>
                          <a:buClr>
                            <a:srgbClr val="2C5689"/>
                          </a:buClr>
                          <a:buSzTx/>
                          <a:buFont typeface="Arial" charset="0"/>
                          <a:buNone/>
                          <a:tabLst/>
                          <a:defRPr/>
                        </a:pPr>
                        <a:r>
                          <a:rPr lang="ru-RU" sz="1100" b="1" kern="120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Страхование</a:t>
                        </a:r>
                        <a:r>
                          <a:rPr lang="ru-RU" sz="1100" b="1" kern="1200" baseline="0" dirty="0" smtClean="0">
                            <a:solidFill>
                              <a:schemeClr val="tx1"/>
                            </a:solidFill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 кредита на пополнение оборотных средств экспортера</a:t>
                        </a:r>
                        <a:endParaRPr lang="ru-RU" sz="1100" b="1" kern="1200" dirty="0" smtClean="0">
                          <a:solidFill>
                            <a:schemeClr val="tx1"/>
                          </a:solidFill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pPr algn="ctr"/>
                        <a:endParaRPr lang="ru-RU" sz="11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marL="72000" marR="72000" marT="72000" marB="72000" anchor="ctr" horzOverflow="overflow">
                      <a:lnL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L>
                      <a:lnR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R>
                      <a:lnT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rgbClr val="D3D3D3"/>
                      </a:solidFill>
                    </a:tcPr>
                  </a:tc>
                  <a:tc gridSpan="2">
                    <a:txBody>
                      <a:bodyPr/>
                      <a:lstStyle/>
                      <a:p>
                        <a:pPr algn="ctr"/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  <a:endParaRPr lang="ru-RU" sz="1100" b="0" dirty="0">
                          <a:latin typeface="+mj-lt"/>
                          <a:ea typeface="Verdana" panose="020B0604030504040204" pitchFamily="34" charset="0"/>
                          <a:cs typeface="Verdana" panose="020B0604030504040204" pitchFamily="34" charset="0"/>
                        </a:endParaRP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12700" cap="flat" cmpd="sng" algn="ctr">
                        <a:solidFill>
                          <a:schemeClr val="bg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  <a:tc hMerge="1">
                    <a:txBody>
                      <a:bodyPr/>
                      <a:lstStyle/>
                      <a:p>
                        <a:endParaRPr lang="ru-RU"/>
                      </a:p>
                    </a:txBody>
                    <a:tcPr/>
                  </a:tc>
                  <a:tc>
                    <a:txBody>
                      <a:bodyPr/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lang="ru-RU" sz="1100" b="0" dirty="0" smtClean="0">
                            <a:latin typeface="+mj-lt"/>
                            <a:ea typeface="Verdana" panose="020B0604030504040204" pitchFamily="34" charset="0"/>
                            <a:cs typeface="Verdana" panose="020B0604030504040204" pitchFamily="34" charset="0"/>
                          </a:rPr>
                          <a:t>Банк</a:t>
                        </a:r>
                      </a:p>
                    </a:txBody>
                    <a:tcPr anchor="ctr">
                      <a:lnL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L>
                      <a:lnR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R>
                      <a:lnT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T>
                      <a:lnB w="6350" cap="flat" cmpd="sng" algn="ctr">
                        <a:solidFill>
                          <a:schemeClr val="bg1">
                            <a:lumMod val="75000"/>
                          </a:schemeClr>
                        </a:solidFill>
                        <a:prstDash val="sysDot"/>
                        <a:round/>
                        <a:headEnd type="none" w="med" len="med"/>
                        <a:tailEnd type="none" w="med" len="med"/>
                      </a:lnB>
                      <a:lnTlToBr>
                        <a:noFill/>
                      </a:lnTlToBr>
                      <a:lnBlToTr>
                        <a:noFill/>
                      </a:lnBlToTr>
                      <a:solidFill>
                        <a:schemeClr val="bg1"/>
                      </a:solidFill>
                    </a:tcPr>
                  </a:tc>
                </a:tr>
              </a:tbl>
            </a:graphicData>
          </a:graphic>
        </p:graphicFrame>
        <p:pic>
          <p:nvPicPr>
            <p:cNvPr id="3074" name="Picture 2" descr="http://www.gemmoraman.com/portals/0/Images/New-2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1546" y="4095813"/>
              <a:ext cx="454310" cy="4543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2" descr="http://www.gemmoraman.com/portals/0/Images/New-2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21335" y="5392265"/>
              <a:ext cx="488182" cy="48818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35186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8374" y="396875"/>
            <a:ext cx="7635875" cy="346075"/>
          </a:xfrm>
        </p:spPr>
        <p:txBody>
          <a:bodyPr/>
          <a:lstStyle/>
          <a:p>
            <a:r>
              <a:rPr lang="ru-RU" sz="1600" dirty="0"/>
              <a:t>КРИТЕРИИ ОТНЕСЕНИЯ  КЛИЕНТОВ К СЕГМЕНТУ МСБ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13704" y="4706560"/>
            <a:ext cx="23907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latin typeface="+mj-lt"/>
              </a:rPr>
              <a:t>Критерии МСБ , применяемые в ЭКСАР </a:t>
            </a:r>
            <a:endParaRPr lang="ru-RU" sz="1400" b="1" dirty="0">
              <a:latin typeface="+mj-lt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5868341" y="1197779"/>
            <a:ext cx="280811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 smtClean="0">
                <a:latin typeface="+mj-lt"/>
              </a:rPr>
              <a:t>Критерии МСП в соответствии с Федеральным законом </a:t>
            </a:r>
            <a:r>
              <a:rPr lang="ru-RU" sz="1400" b="1" dirty="0">
                <a:latin typeface="+mj-lt"/>
              </a:rPr>
              <a:t>от 24.07.2007 № </a:t>
            </a:r>
            <a:r>
              <a:rPr lang="ru-RU" sz="1400" b="1" dirty="0" smtClean="0">
                <a:latin typeface="+mj-lt"/>
              </a:rPr>
              <a:t>209-ФЗ </a:t>
            </a:r>
            <a:endParaRPr lang="ru-RU" sz="1400" b="1" dirty="0">
              <a:latin typeface="+mj-lt"/>
            </a:endParaRPr>
          </a:p>
        </p:txBody>
      </p:sp>
      <p:grpSp>
        <p:nvGrpSpPr>
          <p:cNvPr id="56" name="Группа 55"/>
          <p:cNvGrpSpPr/>
          <p:nvPr/>
        </p:nvGrpSpPr>
        <p:grpSpPr>
          <a:xfrm>
            <a:off x="827584" y="828447"/>
            <a:ext cx="5472608" cy="5121503"/>
            <a:chOff x="827584" y="828447"/>
            <a:chExt cx="5472608" cy="5121503"/>
          </a:xfrm>
        </p:grpSpPr>
        <p:grpSp>
          <p:nvGrpSpPr>
            <p:cNvPr id="55" name="Группа 54"/>
            <p:cNvGrpSpPr/>
            <p:nvPr/>
          </p:nvGrpSpPr>
          <p:grpSpPr>
            <a:xfrm>
              <a:off x="827584" y="828447"/>
              <a:ext cx="5472608" cy="5121503"/>
              <a:chOff x="827584" y="828447"/>
              <a:chExt cx="5472608" cy="5121503"/>
            </a:xfrm>
          </p:grpSpPr>
          <p:sp>
            <p:nvSpPr>
              <p:cNvPr id="6" name="Овал 5"/>
              <p:cNvSpPr/>
              <p:nvPr/>
            </p:nvSpPr>
            <p:spPr bwMode="auto">
              <a:xfrm>
                <a:off x="827584" y="828447"/>
                <a:ext cx="5472608" cy="5121503"/>
              </a:xfrm>
              <a:prstGeom prst="ellipse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ru-RU" dirty="0"/>
              </a:p>
            </p:txBody>
          </p:sp>
          <p:sp>
            <p:nvSpPr>
              <p:cNvPr id="7" name="Прямоугольник 6"/>
              <p:cNvSpPr/>
              <p:nvPr/>
            </p:nvSpPr>
            <p:spPr>
              <a:xfrm>
                <a:off x="2661692" y="1134269"/>
                <a:ext cx="2376264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/>
                <a:r>
                  <a:rPr lang="ru-RU" sz="1400" b="1" dirty="0" smtClean="0">
                    <a:latin typeface="+mj-lt"/>
                  </a:rPr>
                  <a:t>Годовая выручка  </a:t>
                </a:r>
                <a:r>
                  <a:rPr lang="ru-RU" sz="1400" b="1" dirty="0">
                    <a:latin typeface="+mj-lt"/>
                  </a:rPr>
                  <a:t>- </a:t>
                </a:r>
                <a:r>
                  <a:rPr lang="ru-RU" sz="1400" b="1" dirty="0" smtClean="0">
                    <a:latin typeface="+mj-lt"/>
                  </a:rPr>
                  <a:t>от 0 до </a:t>
                </a:r>
                <a:r>
                  <a:rPr lang="ru-RU" sz="1400" b="1" dirty="0">
                    <a:latin typeface="+mj-lt"/>
                  </a:rPr>
                  <a:t>2 </a:t>
                </a:r>
                <a:r>
                  <a:rPr lang="ru-RU" sz="1400" b="1" dirty="0" smtClean="0">
                    <a:latin typeface="+mj-lt"/>
                  </a:rPr>
                  <a:t>млрд. руб.</a:t>
                </a:r>
                <a:endParaRPr lang="ru-RU" sz="1400" b="1" dirty="0">
                  <a:latin typeface="+mj-lt"/>
                </a:endParaRP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4384551" y="2871986"/>
                <a:ext cx="1880417" cy="9541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b="1" dirty="0">
                    <a:latin typeface="+mj-lt"/>
                  </a:rPr>
                  <a:t>Нет ограничений по структуре собственности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3023432" y="4783341"/>
                <a:ext cx="1829357" cy="95410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ru-RU" sz="1400" b="1" dirty="0">
                    <a:latin typeface="+mj-lt"/>
                  </a:rPr>
                  <a:t>Нет ограничений по </a:t>
                </a:r>
                <a:r>
                  <a:rPr lang="ru-RU" sz="1400" b="1" dirty="0" smtClean="0">
                    <a:latin typeface="+mj-lt"/>
                  </a:rPr>
                  <a:t>численности работников</a:t>
                </a:r>
                <a:endParaRPr lang="ru-RU" sz="1400" b="1" dirty="0">
                  <a:latin typeface="+mj-lt"/>
                </a:endParaRPr>
              </a:p>
            </p:txBody>
          </p:sp>
        </p:grpSp>
        <p:grpSp>
          <p:nvGrpSpPr>
            <p:cNvPr id="31" name="Группа 30"/>
            <p:cNvGrpSpPr/>
            <p:nvPr/>
          </p:nvGrpSpPr>
          <p:grpSpPr>
            <a:xfrm>
              <a:off x="899592" y="1772816"/>
              <a:ext cx="3528392" cy="3328729"/>
              <a:chOff x="2987824" y="1540431"/>
              <a:chExt cx="3528392" cy="3328729"/>
            </a:xfrm>
          </p:grpSpPr>
          <p:sp>
            <p:nvSpPr>
              <p:cNvPr id="8" name="Овал 7"/>
              <p:cNvSpPr/>
              <p:nvPr/>
            </p:nvSpPr>
            <p:spPr bwMode="auto">
              <a:xfrm>
                <a:off x="2987824" y="1540431"/>
                <a:ext cx="3528392" cy="3328729"/>
              </a:xfrm>
              <a:prstGeom prst="ellipse">
                <a:avLst/>
              </a:prstGeom>
              <a:solidFill>
                <a:srgbClr val="C00000">
                  <a:alpha val="49020"/>
                </a:srgbClr>
              </a:solidFill>
              <a:ln>
                <a:noFill/>
              </a:ln>
              <a:effectLst/>
              <a:extLst/>
            </p:spPr>
            <p:txBody>
              <a:bodyPr vert="horz" wrap="square" lIns="36000" tIns="36000" rIns="36000" bIns="36000" numCol="1" rtlCol="0" anchor="t" anchorCtr="0" compatLnSpc="1">
                <a:prstTxWarp prst="textNoShape">
                  <a:avLst/>
                </a:prstTxWarp>
                <a:noAutofit/>
              </a:bodyPr>
              <a:lstStyle/>
              <a:p>
                <a:pPr lvl="0" algn="ctr"/>
                <a:endParaRPr lang="ru-RU" sz="1400" dirty="0">
                  <a:latin typeface="+mj-lt"/>
                </a:endParaRPr>
              </a:p>
            </p:txBody>
          </p:sp>
          <p:sp>
            <p:nvSpPr>
              <p:cNvPr id="25" name="Прямоугольник 24"/>
              <p:cNvSpPr/>
              <p:nvPr/>
            </p:nvSpPr>
            <p:spPr>
              <a:xfrm>
                <a:off x="3419872" y="1916832"/>
                <a:ext cx="2635138" cy="41929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0000" tIns="45000" rIns="90000" bIns="45000" anchor="ctr" anchorCtr="1"/>
              <a:lstStyle/>
              <a:p>
                <a:pPr algn="ctr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</a:pP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Годовая выручка </a:t>
                </a:r>
              </a:p>
              <a:p>
                <a:pPr algn="ctr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</a:pP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до 1 </a:t>
                </a:r>
                <a:r>
                  <a:rPr lang="ru-RU" sz="1400" b="1" dirty="0">
                    <a:solidFill>
                      <a:srgbClr val="FFFFFF"/>
                    </a:solidFill>
                    <a:latin typeface="+mj-lt"/>
                  </a:rPr>
                  <a:t>млрд. </a:t>
                </a: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руб. </a:t>
                </a:r>
                <a:endParaRPr lang="ru-RU" sz="1400" b="1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6" name="Прямоугольник 25"/>
              <p:cNvSpPr/>
              <p:nvPr/>
            </p:nvSpPr>
            <p:spPr>
              <a:xfrm>
                <a:off x="3081109" y="2564904"/>
                <a:ext cx="3435107" cy="414254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0000" tIns="45000" rIns="90000" bIns="45000" anchor="ctr" anchorCtr="1"/>
              <a:lstStyle/>
              <a:p>
                <a:pPr algn="ctr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</a:pP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Средняя численность работников - до </a:t>
                </a:r>
                <a:r>
                  <a:rPr lang="ru-RU" sz="1400" b="1" dirty="0">
                    <a:solidFill>
                      <a:srgbClr val="FFFFFF"/>
                    </a:solidFill>
                    <a:latin typeface="+mj-lt"/>
                  </a:rPr>
                  <a:t>250 </a:t>
                </a: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человек</a:t>
                </a:r>
                <a:endParaRPr lang="ru-RU" sz="1400" b="1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28" name="Прямоугольник 27"/>
              <p:cNvSpPr/>
              <p:nvPr/>
            </p:nvSpPr>
            <p:spPr>
              <a:xfrm>
                <a:off x="3153117" y="3204795"/>
                <a:ext cx="3291091" cy="126484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90000" tIns="45000" rIns="90000" bIns="45000" anchor="ctr" anchorCtr="1"/>
              <a:lstStyle/>
              <a:p>
                <a:pPr algn="ctr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</a:pPr>
                <a:r>
                  <a:rPr lang="ru-RU" sz="1400" b="1" dirty="0">
                    <a:solidFill>
                      <a:srgbClr val="FFFFFF"/>
                    </a:solidFill>
                    <a:latin typeface="+mj-lt"/>
                  </a:rPr>
                  <a:t>Доля </a:t>
                </a: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участия субъектов </a:t>
                </a:r>
                <a:r>
                  <a:rPr lang="ru-RU" sz="1400" b="1" dirty="0">
                    <a:solidFill>
                      <a:srgbClr val="FFFFFF"/>
                    </a:solidFill>
                    <a:latin typeface="+mj-lt"/>
                  </a:rPr>
                  <a:t>РФ, иностранных юр. лиц</a:t>
                </a:r>
                <a:r>
                  <a:rPr lang="ru-RU" sz="1400" b="1" dirty="0" smtClean="0">
                    <a:solidFill>
                      <a:srgbClr val="FFFFFF"/>
                    </a:solidFill>
                    <a:latin typeface="+mj-lt"/>
                  </a:rPr>
                  <a:t>, общественных и религиозных организаций, крупных компаний -</a:t>
                </a:r>
                <a:endParaRPr lang="ru-RU" sz="1400" b="1" dirty="0">
                  <a:solidFill>
                    <a:srgbClr val="FFFFFF"/>
                  </a:solidFill>
                  <a:latin typeface="+mj-lt"/>
                </a:endParaRPr>
              </a:p>
              <a:p>
                <a:pPr algn="ctr" defTabSz="457200" eaLnBrk="0" fontAlgn="base" hangingPunct="0">
                  <a:spcBef>
                    <a:spcPct val="0"/>
                  </a:spcBef>
                  <a:spcAft>
                    <a:spcPct val="0"/>
                  </a:spcAft>
                  <a:buClr>
                    <a:srgbClr val="000000"/>
                  </a:buClr>
                  <a:buSzPct val="100000"/>
                  <a:buFont typeface="Times New Roman" pitchFamily="18" charset="0"/>
                  <a:tabLst>
                    <a:tab pos="0" algn="l"/>
                    <a:tab pos="457200" algn="l"/>
                    <a:tab pos="914400" algn="l"/>
                    <a:tab pos="1371600" algn="l"/>
                    <a:tab pos="1828800" algn="l"/>
                    <a:tab pos="2286000" algn="l"/>
                    <a:tab pos="2743200" algn="l"/>
                    <a:tab pos="3200400" algn="l"/>
                    <a:tab pos="3657600" algn="l"/>
                    <a:tab pos="4114800" algn="l"/>
                    <a:tab pos="4572000" algn="l"/>
                    <a:tab pos="5029200" algn="l"/>
                    <a:tab pos="5486400" algn="l"/>
                    <a:tab pos="5943600" algn="l"/>
                    <a:tab pos="6400800" algn="l"/>
                    <a:tab pos="6858000" algn="l"/>
                    <a:tab pos="7315200" algn="l"/>
                    <a:tab pos="7772400" algn="l"/>
                    <a:tab pos="8229600" algn="l"/>
                    <a:tab pos="8686800" algn="l"/>
                    <a:tab pos="9144000" algn="l"/>
                  </a:tabLst>
                </a:pPr>
                <a:r>
                  <a:rPr lang="ru-RU" sz="1400" b="1" dirty="0">
                    <a:solidFill>
                      <a:srgbClr val="FFFFFF"/>
                    </a:solidFill>
                    <a:latin typeface="+mj-lt"/>
                  </a:rPr>
                  <a:t>до 25%</a:t>
                </a:r>
              </a:p>
            </p:txBody>
          </p:sp>
        </p:grpSp>
      </p:grpSp>
      <p:cxnSp>
        <p:nvCxnSpPr>
          <p:cNvPr id="11" name="Прямая соединительная линия 10"/>
          <p:cNvCxnSpPr>
            <a:endCxn id="18" idx="1"/>
          </p:cNvCxnSpPr>
          <p:nvPr/>
        </p:nvCxnSpPr>
        <p:spPr bwMode="auto">
          <a:xfrm flipV="1">
            <a:off x="3922029" y="1674833"/>
            <a:ext cx="1946312" cy="89368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/>
        </p:nvCxnSpPr>
        <p:spPr bwMode="auto">
          <a:xfrm>
            <a:off x="5508104" y="4819398"/>
            <a:ext cx="792088" cy="256494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r>
              <a:rPr lang="ru-RU" smtClean="0">
                <a:latin typeface="+mj-lt"/>
              </a:rPr>
              <a:t>МЕХАНИЗМЫ МИНИМИЗАЦИИ РИСКОВ РОССИЙСКИХ БАНКОВ ПРИ ЭКСПОРТНОМ ФИНАНСИРОВАНИИ </a:t>
            </a:r>
            <a:endParaRPr lang="ru-RU" dirty="0" smtClean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59761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итул">
  <a:themeElements>
    <a:clrScheme name="Титул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Титул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Титул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Титул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Титул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2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8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4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4_Буллиты">
  <a:themeElements>
    <a:clrScheme name="Буллиты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3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5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5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6E6E6"/>
        </a:solidFill>
        <a:ln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3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5_Буллиты">
  <a:themeElements>
    <a:clrScheme name="Буллиты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4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9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6E6E6"/>
        </a:solidFill>
        <a:ln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_Буллит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7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3_Буллит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8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6E6E6"/>
        </a:solidFill>
        <a:ln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0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6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6_Буллиты">
  <a:themeElements>
    <a:clrScheme name="Буллиты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7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Подраздел">
  <a:themeElements>
    <a:clrScheme name="Подраздел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Подраздел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Подраздел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драздел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драздел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драздел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драздел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одраздел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одраздел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11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6E6E6"/>
        </a:solidFill>
        <a:ln>
          <a:noFill/>
        </a:ln>
        <a:effectLst/>
        <a:extLst/>
      </a:spPr>
      <a:bodyPr vert="horz" wrap="square" lIns="36000" tIns="36000" rIns="36000" bIns="36000" numCol="1" rtlCol="0" anchor="t" anchorCtr="0" compatLnSpc="1">
        <a:prstTxWarp prst="textNoShape">
          <a:avLst/>
        </a:prstTxWarp>
        <a:noAutofit/>
      </a:bodyPr>
      <a:lstStyle>
        <a:defPPr>
          <a:defRPr dirty="0"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12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19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0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1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2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3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24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7_Буллит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25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Буллиты">
  <a:themeElements>
    <a:clrScheme name="Буллиты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8_Буллит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9_Буллит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26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27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ОСНОВНОЙ СЛАЙД">
  <a:themeElements>
    <a:clrScheme name="ОСНОВНОЙ СЛАЙД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СНОВНОЙ СЛАЙД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ОСНОВНОЙ СЛАЙД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СНОВНОЙ СЛАЙД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СНОВНОЙ СЛАЙД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СНОВНОЙ СЛАЙД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СНОВНОЙ СЛАЙД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СНОВНОЙ СЛАЙД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СНОВНОЙ СЛАЙД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Картинка и текст">
  <a:themeElements>
    <a:clrScheme name="Картинка и текст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Картинка и текст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Картинка и текст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артинка и текст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артинка и текст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артинка и текст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артинка и текст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Картинка и текст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Картинка и текст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Заключительный слайд">
  <a:themeElements>
    <a:clrScheme name="Заключительный слайд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Заключительный слайд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Заключительный слайд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Заключительный слайд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Заключительный слайд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Заключительный слайд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Заключительный слайд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Заключительный слайд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Заключительный слайд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_Буллиты">
  <a:themeElements>
    <a:clrScheme name="Буллиты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Буллиты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Буллиты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Буллиты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Буллиты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Содержание">
  <a:themeElements>
    <a:clrScheme name="Содержа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одержание">
      <a:majorFont>
        <a:latin typeface="Verdana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 typeface="Arial" charset="0"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rgbClr val="C7475D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Содержа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одержа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одержа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ЭКСАР Презентация</Template>
  <TotalTime>10066</TotalTime>
  <Words>840</Words>
  <Application>Microsoft Office PowerPoint</Application>
  <PresentationFormat>Экран (4:3)</PresentationFormat>
  <Paragraphs>150</Paragraphs>
  <Slides>1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4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58" baseType="lpstr">
      <vt:lpstr>Титул</vt:lpstr>
      <vt:lpstr>Содержание</vt:lpstr>
      <vt:lpstr>Подраздел</vt:lpstr>
      <vt:lpstr>Буллиты</vt:lpstr>
      <vt:lpstr>ОСНОВНОЙ СЛАЙД</vt:lpstr>
      <vt:lpstr>Картинка и текст</vt:lpstr>
      <vt:lpstr>Заключительный слайд</vt:lpstr>
      <vt:lpstr>1_Буллиты</vt:lpstr>
      <vt:lpstr>1_Содержание</vt:lpstr>
      <vt:lpstr>6_Содержание</vt:lpstr>
      <vt:lpstr>2_Содержание</vt:lpstr>
      <vt:lpstr>18_Содержание</vt:lpstr>
      <vt:lpstr>4_Содержание</vt:lpstr>
      <vt:lpstr>4_Буллиты</vt:lpstr>
      <vt:lpstr>3_Содержание</vt:lpstr>
      <vt:lpstr>15_Содержание</vt:lpstr>
      <vt:lpstr>5_Содержание</vt:lpstr>
      <vt:lpstr>13_Содержание</vt:lpstr>
      <vt:lpstr>5_Буллиты</vt:lpstr>
      <vt:lpstr>14_Содержание</vt:lpstr>
      <vt:lpstr>9_Содержание</vt:lpstr>
      <vt:lpstr>2_Буллиты</vt:lpstr>
      <vt:lpstr>7_Содержание</vt:lpstr>
      <vt:lpstr>3_Буллиты</vt:lpstr>
      <vt:lpstr>8_Содержание</vt:lpstr>
      <vt:lpstr>10_Содержание</vt:lpstr>
      <vt:lpstr>16_Содержание</vt:lpstr>
      <vt:lpstr>6_Буллиты</vt:lpstr>
      <vt:lpstr>17_Содержание</vt:lpstr>
      <vt:lpstr>11_Содержание</vt:lpstr>
      <vt:lpstr>12_Содержание</vt:lpstr>
      <vt:lpstr>19_Содержание</vt:lpstr>
      <vt:lpstr>20_Содержание</vt:lpstr>
      <vt:lpstr>21_Содержание</vt:lpstr>
      <vt:lpstr>22_Содержание</vt:lpstr>
      <vt:lpstr>23_Содержание</vt:lpstr>
      <vt:lpstr>24_Содержание</vt:lpstr>
      <vt:lpstr>7_Буллиты</vt:lpstr>
      <vt:lpstr>25_Содержание</vt:lpstr>
      <vt:lpstr>8_Буллиты</vt:lpstr>
      <vt:lpstr>9_Буллиты</vt:lpstr>
      <vt:lpstr>26_Содержание</vt:lpstr>
      <vt:lpstr>27_Содержание</vt:lpstr>
      <vt:lpstr>think-cell Slide</vt:lpstr>
      <vt:lpstr>Презентация PowerPoint</vt:lpstr>
      <vt:lpstr>ТЕКУЩИЕ ОСОБЕННОСТИ РЫНКА КРЕДИТОВАНИЯ</vt:lpstr>
      <vt:lpstr>ГОСУДАРСТВЕННАЯ ПОДДЕРЖКА</vt:lpstr>
      <vt:lpstr>ДОСТАТОЧНОСТЬ КАПИТАЛА</vt:lpstr>
      <vt:lpstr>ОБЕСПЕЧЕНИЕ</vt:lpstr>
      <vt:lpstr>РЕЗЕРВЫ</vt:lpstr>
      <vt:lpstr>РИСКИ</vt:lpstr>
      <vt:lpstr>ПРОДУКТЫ ОАО «ЭКСАР»</vt:lpstr>
      <vt:lpstr>КРИТЕРИИ ОТНЕСЕНИЯ  КЛИЕНТОВ К СЕГМЕНТУ МСБ </vt:lpstr>
      <vt:lpstr>СТРАХОВАНИЕ КРЕДИТА НА ПОПОЛНЕНИЕ ОБОРОТНЫХ СРЕДСТВ ЭКСПОРТЕРА</vt:lpstr>
      <vt:lpstr>ПРЕДПОЛАГАЕМЫЕ  БАНКИ – ПАРТНЕРЫ ПО ПРОДУКТУ </vt:lpstr>
      <vt:lpstr>РЕЗУЛЬТАТЫ РАБОТЫ АГЕНТСТВА </vt:lpstr>
      <vt:lpstr>МОДЕЛЬ ЕДИНОГО ЦЕНТРА КРЕДИТНО-СТРАХОВОЙ ПОДДЕРЖКИ</vt:lpstr>
      <vt:lpstr>СПАСИБО  ЗА ВНИМАНИЕ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Григорий В. Ладышев</dc:creator>
  <cp:lastModifiedBy>Григорий В. Ладышев</cp:lastModifiedBy>
  <cp:revision>802</cp:revision>
  <cp:lastPrinted>2014-03-07T13:27:12Z</cp:lastPrinted>
  <dcterms:created xsi:type="dcterms:W3CDTF">2013-08-19T11:25:49Z</dcterms:created>
  <dcterms:modified xsi:type="dcterms:W3CDTF">2014-08-28T12:37:23Z</dcterms:modified>
</cp:coreProperties>
</file>